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3" r:id="rId5"/>
    <p:sldMasterId id="2147483684" r:id="rId6"/>
    <p:sldMasterId id="2147483703" r:id="rId7"/>
  </p:sldMasterIdLst>
  <p:notesMasterIdLst>
    <p:notesMasterId r:id="rId45"/>
  </p:notesMasterIdLst>
  <p:sldIdLst>
    <p:sldId id="312" r:id="rId8"/>
    <p:sldId id="257" r:id="rId9"/>
    <p:sldId id="302" r:id="rId10"/>
    <p:sldId id="300" r:id="rId11"/>
    <p:sldId id="308" r:id="rId12"/>
    <p:sldId id="313" r:id="rId13"/>
    <p:sldId id="314" r:id="rId14"/>
    <p:sldId id="303" r:id="rId15"/>
    <p:sldId id="309" r:id="rId16"/>
    <p:sldId id="2128" r:id="rId17"/>
    <p:sldId id="336" r:id="rId18"/>
    <p:sldId id="273" r:id="rId19"/>
    <p:sldId id="2136" r:id="rId20"/>
    <p:sldId id="2123" r:id="rId21"/>
    <p:sldId id="3700" r:id="rId22"/>
    <p:sldId id="3264" r:id="rId23"/>
    <p:sldId id="3701" r:id="rId24"/>
    <p:sldId id="3702" r:id="rId25"/>
    <p:sldId id="335" r:id="rId26"/>
    <p:sldId id="421" r:id="rId27"/>
    <p:sldId id="549" r:id="rId28"/>
    <p:sldId id="550" r:id="rId29"/>
    <p:sldId id="553" r:id="rId30"/>
    <p:sldId id="554" r:id="rId31"/>
    <p:sldId id="325" r:id="rId32"/>
    <p:sldId id="315" r:id="rId33"/>
    <p:sldId id="316" r:id="rId34"/>
    <p:sldId id="317" r:id="rId35"/>
    <p:sldId id="318" r:id="rId36"/>
    <p:sldId id="319" r:id="rId37"/>
    <p:sldId id="320" r:id="rId38"/>
    <p:sldId id="321" r:id="rId39"/>
    <p:sldId id="322" r:id="rId40"/>
    <p:sldId id="323" r:id="rId41"/>
    <p:sldId id="324" r:id="rId42"/>
    <p:sldId id="282" r:id="rId43"/>
    <p:sldId id="310"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na Hunnisett" initials="RH" lastIdx="1" clrIdx="0">
    <p:extLst>
      <p:ext uri="{19B8F6BF-5375-455C-9EA6-DF929625EA0E}">
        <p15:presenceInfo xmlns:p15="http://schemas.microsoft.com/office/powerpoint/2012/main" userId="S::rhunnisett@fta.co.uk::49d2cde8-52f3-4768-b5d7-46aec1a4d918" providerId="AD"/>
      </p:ext>
    </p:extLst>
  </p:cmAuthor>
  <p:cmAuthor id="2" name="Denise Beedell" initials="DB" lastIdx="5" clrIdx="1">
    <p:extLst>
      <p:ext uri="{19B8F6BF-5375-455C-9EA6-DF929625EA0E}">
        <p15:presenceInfo xmlns:p15="http://schemas.microsoft.com/office/powerpoint/2012/main" userId="S::dbeedell@fta.co.uk::9373ca35-d42f-4073-9976-a7a5b5f48b07" providerId="AD"/>
      </p:ext>
    </p:extLst>
  </p:cmAuthor>
  <p:cmAuthor id="3" name="Eleanor Matthews" initials="EM" lastIdx="4" clrIdx="2">
    <p:extLst>
      <p:ext uri="{19B8F6BF-5375-455C-9EA6-DF929625EA0E}">
        <p15:presenceInfo xmlns:p15="http://schemas.microsoft.com/office/powerpoint/2012/main" userId="S::ematthews@fta.co.uk::1dbbd07e-8a95-40e8-8c1a-2b505657be5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D55A"/>
    <a:srgbClr val="FF66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2F888D6-2A32-4173-9E53-846016FDF470}" v="60" dt="2021-11-10T09:12:28.75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viewProps" Target="viewProps.xml"/><Relationship Id="rId8" Type="http://schemas.openxmlformats.org/officeDocument/2006/relationships/slide" Target="slides/slide1.xml"/><Relationship Id="rId51"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elle Gardner" userId="S::mgardner@logistics.org.uk::55d6205b-2021-474f-a7c5-b841f4fb8ab6" providerId="AD" clId="Web-{CBAE8EC6-2570-06DC-C7CE-FB0C2040D32A}"/>
    <pc:docChg chg="modSld">
      <pc:chgData name="Michelle Gardner" userId="S::mgardner@logistics.org.uk::55d6205b-2021-474f-a7c5-b841f4fb8ab6" providerId="AD" clId="Web-{CBAE8EC6-2570-06DC-C7CE-FB0C2040D32A}" dt="2021-11-04T11:42:42.339" v="1" actId="14100"/>
      <pc:docMkLst>
        <pc:docMk/>
      </pc:docMkLst>
      <pc:sldChg chg="modSp">
        <pc:chgData name="Michelle Gardner" userId="S::mgardner@logistics.org.uk::55d6205b-2021-474f-a7c5-b841f4fb8ab6" providerId="AD" clId="Web-{CBAE8EC6-2570-06DC-C7CE-FB0C2040D32A}" dt="2021-11-04T11:42:42.339" v="1" actId="14100"/>
        <pc:sldMkLst>
          <pc:docMk/>
          <pc:sldMk cId="3348598194" sldId="302"/>
        </pc:sldMkLst>
        <pc:picChg chg="mod">
          <ac:chgData name="Michelle Gardner" userId="S::mgardner@logistics.org.uk::55d6205b-2021-474f-a7c5-b841f4fb8ab6" providerId="AD" clId="Web-{CBAE8EC6-2570-06DC-C7CE-FB0C2040D32A}" dt="2021-11-04T11:42:42.339" v="1" actId="14100"/>
          <ac:picMkLst>
            <pc:docMk/>
            <pc:sldMk cId="3348598194" sldId="302"/>
            <ac:picMk id="14" creationId="{8C7C72E9-0E44-47E8-8B21-E37AC2CF6D25}"/>
          </ac:picMkLst>
        </pc:picChg>
      </pc:sldChg>
    </pc:docChg>
  </pc:docChgLst>
  <pc:docChgLst>
    <pc:chgData name="Eleanor Matthews" userId="S::ematthews@fta.co.uk::1dbbd07e-8a95-40e8-8c1a-2b505657be5c" providerId="AD" clId="Web-{E17C3897-B402-7158-3148-B62D38FC3344}"/>
    <pc:docChg chg="modSld">
      <pc:chgData name="Eleanor Matthews" userId="S::ematthews@fta.co.uk::1dbbd07e-8a95-40e8-8c1a-2b505657be5c" providerId="AD" clId="Web-{E17C3897-B402-7158-3148-B62D38FC3344}" dt="2021-11-01T14:04:33.815" v="1" actId="20577"/>
      <pc:docMkLst>
        <pc:docMk/>
      </pc:docMkLst>
      <pc:sldChg chg="modSp">
        <pc:chgData name="Eleanor Matthews" userId="S::ematthews@fta.co.uk::1dbbd07e-8a95-40e8-8c1a-2b505657be5c" providerId="AD" clId="Web-{E17C3897-B402-7158-3148-B62D38FC3344}" dt="2021-11-01T14:04:33.815" v="1" actId="20577"/>
        <pc:sldMkLst>
          <pc:docMk/>
          <pc:sldMk cId="42045792" sldId="300"/>
        </pc:sldMkLst>
        <pc:spChg chg="mod">
          <ac:chgData name="Eleanor Matthews" userId="S::ematthews@fta.co.uk::1dbbd07e-8a95-40e8-8c1a-2b505657be5c" providerId="AD" clId="Web-{E17C3897-B402-7158-3148-B62D38FC3344}" dt="2021-11-01T14:04:33.815" v="1" actId="20577"/>
          <ac:spMkLst>
            <pc:docMk/>
            <pc:sldMk cId="42045792" sldId="300"/>
            <ac:spMk id="7" creationId="{F98ABB0C-BB89-4569-AC30-A5FED86C7CBA}"/>
          </ac:spMkLst>
        </pc:spChg>
      </pc:sldChg>
    </pc:docChg>
  </pc:docChgLst>
  <pc:docChgLst>
    <pc:chgData name="Denise Beedell" userId="9373ca35-d42f-4073-9976-a7a5b5f48b07" providerId="ADAL" clId="{12F26AB3-DDCE-4D8D-A0CA-9AD0096D2884}"/>
    <pc:docChg chg="modSld">
      <pc:chgData name="Denise Beedell" userId="9373ca35-d42f-4073-9976-a7a5b5f48b07" providerId="ADAL" clId="{12F26AB3-DDCE-4D8D-A0CA-9AD0096D2884}" dt="2021-11-01T14:54:53.563" v="2" actId="20577"/>
      <pc:docMkLst>
        <pc:docMk/>
      </pc:docMkLst>
      <pc:sldChg chg="modSp mod">
        <pc:chgData name="Denise Beedell" userId="9373ca35-d42f-4073-9976-a7a5b5f48b07" providerId="ADAL" clId="{12F26AB3-DDCE-4D8D-A0CA-9AD0096D2884}" dt="2021-11-01T14:54:53.563" v="2" actId="20577"/>
        <pc:sldMkLst>
          <pc:docMk/>
          <pc:sldMk cId="2607164340" sldId="308"/>
        </pc:sldMkLst>
        <pc:spChg chg="mod">
          <ac:chgData name="Denise Beedell" userId="9373ca35-d42f-4073-9976-a7a5b5f48b07" providerId="ADAL" clId="{12F26AB3-DDCE-4D8D-A0CA-9AD0096D2884}" dt="2021-11-01T14:54:50.323" v="0" actId="20577"/>
          <ac:spMkLst>
            <pc:docMk/>
            <pc:sldMk cId="2607164340" sldId="308"/>
            <ac:spMk id="5" creationId="{0ADEACBC-32F0-4851-9822-9A70B114F8E4}"/>
          </ac:spMkLst>
        </pc:spChg>
        <pc:spChg chg="mod">
          <ac:chgData name="Denise Beedell" userId="9373ca35-d42f-4073-9976-a7a5b5f48b07" providerId="ADAL" clId="{12F26AB3-DDCE-4D8D-A0CA-9AD0096D2884}" dt="2021-11-01T14:54:53.563" v="2" actId="20577"/>
          <ac:spMkLst>
            <pc:docMk/>
            <pc:sldMk cId="2607164340" sldId="308"/>
            <ac:spMk id="7" creationId="{4AD147FD-406A-4BD9-A4B1-09E3EADCFEF3}"/>
          </ac:spMkLst>
        </pc:spChg>
      </pc:sldChg>
    </pc:docChg>
  </pc:docChgLst>
  <pc:docChgLst>
    <pc:chgData name="Rona Hunnisett" userId="S::rhunnisett@logistics.org.uk::49d2cde8-52f3-4768-b5d7-46aec1a4d918" providerId="AD" clId="Web-{4F0F5A91-D8B2-2DC9-3C5D-07A6A1AAF313}"/>
    <pc:docChg chg="modSld">
      <pc:chgData name="Rona Hunnisett" userId="S::rhunnisett@logistics.org.uk::49d2cde8-52f3-4768-b5d7-46aec1a4d918" providerId="AD" clId="Web-{4F0F5A91-D8B2-2DC9-3C5D-07A6A1AAF313}" dt="2021-11-01T13:08:49.506" v="76" actId="20577"/>
      <pc:docMkLst>
        <pc:docMk/>
      </pc:docMkLst>
      <pc:sldChg chg="modSp">
        <pc:chgData name="Rona Hunnisett" userId="S::rhunnisett@logistics.org.uk::49d2cde8-52f3-4768-b5d7-46aec1a4d918" providerId="AD" clId="Web-{4F0F5A91-D8B2-2DC9-3C5D-07A6A1AAF313}" dt="2021-11-01T13:08:49.506" v="76" actId="20577"/>
        <pc:sldMkLst>
          <pc:docMk/>
          <pc:sldMk cId="42045792" sldId="300"/>
        </pc:sldMkLst>
        <pc:spChg chg="mod">
          <ac:chgData name="Rona Hunnisett" userId="S::rhunnisett@logistics.org.uk::49d2cde8-52f3-4768-b5d7-46aec1a4d918" providerId="AD" clId="Web-{4F0F5A91-D8B2-2DC9-3C5D-07A6A1AAF313}" dt="2021-11-01T13:08:49.506" v="76" actId="20577"/>
          <ac:spMkLst>
            <pc:docMk/>
            <pc:sldMk cId="42045792" sldId="300"/>
            <ac:spMk id="7" creationId="{F98ABB0C-BB89-4569-AC30-A5FED86C7CBA}"/>
          </ac:spMkLst>
        </pc:spChg>
      </pc:sldChg>
      <pc:sldChg chg="modSp">
        <pc:chgData name="Rona Hunnisett" userId="S::rhunnisett@logistics.org.uk::49d2cde8-52f3-4768-b5d7-46aec1a4d918" providerId="AD" clId="Web-{4F0F5A91-D8B2-2DC9-3C5D-07A6A1AAF313}" dt="2021-11-01T13:08:33.958" v="72" actId="20577"/>
        <pc:sldMkLst>
          <pc:docMk/>
          <pc:sldMk cId="590212552" sldId="310"/>
        </pc:sldMkLst>
        <pc:spChg chg="mod">
          <ac:chgData name="Rona Hunnisett" userId="S::rhunnisett@logistics.org.uk::49d2cde8-52f3-4768-b5d7-46aec1a4d918" providerId="AD" clId="Web-{4F0F5A91-D8B2-2DC9-3C5D-07A6A1AAF313}" dt="2021-11-01T13:08:33.958" v="72" actId="20577"/>
          <ac:spMkLst>
            <pc:docMk/>
            <pc:sldMk cId="590212552" sldId="310"/>
            <ac:spMk id="6" creationId="{02A73703-CC8D-4748-92EC-73634BFB982E}"/>
          </ac:spMkLst>
        </pc:spChg>
      </pc:sldChg>
    </pc:docChg>
  </pc:docChgLst>
  <pc:docChgLst>
    <pc:chgData name="Michelle Gardner" userId="S::mgardner@logistics.org.uk::55d6205b-2021-474f-a7c5-b841f4fb8ab6" providerId="AD" clId="Web-{62A9361C-98C0-D4B5-768D-E2A0755A0790}"/>
    <pc:docChg chg="modSld">
      <pc:chgData name="Michelle Gardner" userId="S::mgardner@logistics.org.uk::55d6205b-2021-474f-a7c5-b841f4fb8ab6" providerId="AD" clId="Web-{62A9361C-98C0-D4B5-768D-E2A0755A0790}" dt="2021-11-01T15:07:38.330" v="23" actId="20577"/>
      <pc:docMkLst>
        <pc:docMk/>
      </pc:docMkLst>
      <pc:sldChg chg="modSp">
        <pc:chgData name="Michelle Gardner" userId="S::mgardner@logistics.org.uk::55d6205b-2021-474f-a7c5-b841f4fb8ab6" providerId="AD" clId="Web-{62A9361C-98C0-D4B5-768D-E2A0755A0790}" dt="2021-11-01T15:07:38.330" v="23" actId="20577"/>
        <pc:sldMkLst>
          <pc:docMk/>
          <pc:sldMk cId="42045792" sldId="300"/>
        </pc:sldMkLst>
        <pc:spChg chg="mod">
          <ac:chgData name="Michelle Gardner" userId="S::mgardner@logistics.org.uk::55d6205b-2021-474f-a7c5-b841f4fb8ab6" providerId="AD" clId="Web-{62A9361C-98C0-D4B5-768D-E2A0755A0790}" dt="2021-11-01T15:07:38.330" v="23" actId="20577"/>
          <ac:spMkLst>
            <pc:docMk/>
            <pc:sldMk cId="42045792" sldId="300"/>
            <ac:spMk id="7" creationId="{F98ABB0C-BB89-4569-AC30-A5FED86C7CBA}"/>
          </ac:spMkLst>
        </pc:spChg>
      </pc:sldChg>
    </pc:docChg>
  </pc:docChgLst>
  <pc:docChgLst>
    <pc:chgData name="Eleanor Matthews" userId="1dbbd07e-8a95-40e8-8c1a-2b505657be5c" providerId="ADAL" clId="{12F888D6-2A32-4173-9E53-846016FDF470}"/>
    <pc:docChg chg="undo custSel addSld delSld modSld sldOrd">
      <pc:chgData name="Eleanor Matthews" userId="1dbbd07e-8a95-40e8-8c1a-2b505657be5c" providerId="ADAL" clId="{12F888D6-2A32-4173-9E53-846016FDF470}" dt="2021-11-10T09:13:02.374" v="489" actId="478"/>
      <pc:docMkLst>
        <pc:docMk/>
      </pc:docMkLst>
      <pc:sldChg chg="add del">
        <pc:chgData name="Eleanor Matthews" userId="1dbbd07e-8a95-40e8-8c1a-2b505657be5c" providerId="ADAL" clId="{12F888D6-2A32-4173-9E53-846016FDF470}" dt="2021-11-10T09:10:44.779" v="480"/>
        <pc:sldMkLst>
          <pc:docMk/>
          <pc:sldMk cId="634229251" sldId="273"/>
        </pc:sldMkLst>
      </pc:sldChg>
      <pc:sldChg chg="modSp mod">
        <pc:chgData name="Eleanor Matthews" userId="1dbbd07e-8a95-40e8-8c1a-2b505657be5c" providerId="ADAL" clId="{12F888D6-2A32-4173-9E53-846016FDF470}" dt="2021-11-01T12:24:53.750" v="21" actId="1076"/>
        <pc:sldMkLst>
          <pc:docMk/>
          <pc:sldMk cId="42045792" sldId="300"/>
        </pc:sldMkLst>
        <pc:picChg chg="mod">
          <ac:chgData name="Eleanor Matthews" userId="1dbbd07e-8a95-40e8-8c1a-2b505657be5c" providerId="ADAL" clId="{12F888D6-2A32-4173-9E53-846016FDF470}" dt="2021-11-01T12:24:53.750" v="21" actId="1076"/>
          <ac:picMkLst>
            <pc:docMk/>
            <pc:sldMk cId="42045792" sldId="300"/>
            <ac:picMk id="5" creationId="{67661031-57D8-4BDB-A27E-422DB76DAE05}"/>
          </ac:picMkLst>
        </pc:picChg>
      </pc:sldChg>
      <pc:sldChg chg="addSp delSp modSp mod">
        <pc:chgData name="Eleanor Matthews" userId="1dbbd07e-8a95-40e8-8c1a-2b505657be5c" providerId="ADAL" clId="{12F888D6-2A32-4173-9E53-846016FDF470}" dt="2021-11-03T09:52:34.666" v="209" actId="1076"/>
        <pc:sldMkLst>
          <pc:docMk/>
          <pc:sldMk cId="3348598194" sldId="302"/>
        </pc:sldMkLst>
        <pc:spChg chg="del">
          <ac:chgData name="Eleanor Matthews" userId="1dbbd07e-8a95-40e8-8c1a-2b505657be5c" providerId="ADAL" clId="{12F888D6-2A32-4173-9E53-846016FDF470}" dt="2021-11-03T09:36:44.449" v="69" actId="478"/>
          <ac:spMkLst>
            <pc:docMk/>
            <pc:sldMk cId="3348598194" sldId="302"/>
            <ac:spMk id="5" creationId="{77941588-345D-4844-B5EF-79CC2AC18ECE}"/>
          </ac:spMkLst>
        </pc:spChg>
        <pc:spChg chg="mod">
          <ac:chgData name="Eleanor Matthews" userId="1dbbd07e-8a95-40e8-8c1a-2b505657be5c" providerId="ADAL" clId="{12F888D6-2A32-4173-9E53-846016FDF470}" dt="2021-11-03T09:51:45.533" v="116" actId="1076"/>
          <ac:spMkLst>
            <pc:docMk/>
            <pc:sldMk cId="3348598194" sldId="302"/>
            <ac:spMk id="6" creationId="{AD43E0C9-F0E4-4B79-ACA5-EFCA9FD96824}"/>
          </ac:spMkLst>
        </pc:spChg>
        <pc:spChg chg="mod">
          <ac:chgData name="Eleanor Matthews" userId="1dbbd07e-8a95-40e8-8c1a-2b505657be5c" providerId="ADAL" clId="{12F888D6-2A32-4173-9E53-846016FDF470}" dt="2021-11-03T09:52:34.666" v="209" actId="1076"/>
          <ac:spMkLst>
            <pc:docMk/>
            <pc:sldMk cId="3348598194" sldId="302"/>
            <ac:spMk id="10" creationId="{49756AC5-BD04-48CD-A1E7-06CAA0CC2463}"/>
          </ac:spMkLst>
        </pc:spChg>
        <pc:spChg chg="mod">
          <ac:chgData name="Eleanor Matthews" userId="1dbbd07e-8a95-40e8-8c1a-2b505657be5c" providerId="ADAL" clId="{12F888D6-2A32-4173-9E53-846016FDF470}" dt="2021-11-03T09:52:02.982" v="125" actId="14100"/>
          <ac:spMkLst>
            <pc:docMk/>
            <pc:sldMk cId="3348598194" sldId="302"/>
            <ac:spMk id="13" creationId="{1A63C305-9442-4369-BA21-2122FBAFACDB}"/>
          </ac:spMkLst>
        </pc:spChg>
        <pc:spChg chg="mod">
          <ac:chgData name="Eleanor Matthews" userId="1dbbd07e-8a95-40e8-8c1a-2b505657be5c" providerId="ADAL" clId="{12F888D6-2A32-4173-9E53-846016FDF470}" dt="2021-11-03T09:52:08.744" v="127" actId="14100"/>
          <ac:spMkLst>
            <pc:docMk/>
            <pc:sldMk cId="3348598194" sldId="302"/>
            <ac:spMk id="17" creationId="{B39501EB-EDAD-4811-8EBA-A77528DDDC24}"/>
          </ac:spMkLst>
        </pc:spChg>
        <pc:spChg chg="add mod">
          <ac:chgData name="Eleanor Matthews" userId="1dbbd07e-8a95-40e8-8c1a-2b505657be5c" providerId="ADAL" clId="{12F888D6-2A32-4173-9E53-846016FDF470}" dt="2021-11-03T09:52:33.133" v="208" actId="20577"/>
          <ac:spMkLst>
            <pc:docMk/>
            <pc:sldMk cId="3348598194" sldId="302"/>
            <ac:spMk id="19" creationId="{8C6285A8-D486-441B-B60A-035BC274A389}"/>
          </ac:spMkLst>
        </pc:spChg>
        <pc:graphicFrameChg chg="add del mod">
          <ac:chgData name="Eleanor Matthews" userId="1dbbd07e-8a95-40e8-8c1a-2b505657be5c" providerId="ADAL" clId="{12F888D6-2A32-4173-9E53-846016FDF470}" dt="2021-11-03T09:36:55.322" v="75" actId="478"/>
          <ac:graphicFrameMkLst>
            <pc:docMk/>
            <pc:sldMk cId="3348598194" sldId="302"/>
            <ac:graphicFrameMk id="3" creationId="{DBDA4383-9334-4BAA-B77B-08C4A96E1288}"/>
          </ac:graphicFrameMkLst>
        </pc:graphicFrameChg>
        <pc:picChg chg="del mod">
          <ac:chgData name="Eleanor Matthews" userId="1dbbd07e-8a95-40e8-8c1a-2b505657be5c" providerId="ADAL" clId="{12F888D6-2A32-4173-9E53-846016FDF470}" dt="2021-11-03T09:49:37.629" v="88" actId="478"/>
          <ac:picMkLst>
            <pc:docMk/>
            <pc:sldMk cId="3348598194" sldId="302"/>
            <ac:picMk id="8" creationId="{62FD95B2-B5A2-4869-8E04-6E1BE550A4FA}"/>
          </ac:picMkLst>
        </pc:picChg>
        <pc:picChg chg="add mod modCrop">
          <ac:chgData name="Eleanor Matthews" userId="1dbbd07e-8a95-40e8-8c1a-2b505657be5c" providerId="ADAL" clId="{12F888D6-2A32-4173-9E53-846016FDF470}" dt="2021-11-03T09:51:43.134" v="115" actId="1076"/>
          <ac:picMkLst>
            <pc:docMk/>
            <pc:sldMk cId="3348598194" sldId="302"/>
            <ac:picMk id="9" creationId="{23C318CF-6BFA-4464-9785-6C74ACA837FB}"/>
          </ac:picMkLst>
        </pc:picChg>
        <pc:picChg chg="mod">
          <ac:chgData name="Eleanor Matthews" userId="1dbbd07e-8a95-40e8-8c1a-2b505657be5c" providerId="ADAL" clId="{12F888D6-2A32-4173-9E53-846016FDF470}" dt="2021-11-03T09:51:40.983" v="112" actId="1076"/>
          <ac:picMkLst>
            <pc:docMk/>
            <pc:sldMk cId="3348598194" sldId="302"/>
            <ac:picMk id="11" creationId="{C4F8E7C8-20E6-416C-AD0D-3C25DAE496BD}"/>
          </ac:picMkLst>
        </pc:picChg>
        <pc:picChg chg="add mod modCrop">
          <ac:chgData name="Eleanor Matthews" userId="1dbbd07e-8a95-40e8-8c1a-2b505657be5c" providerId="ADAL" clId="{12F888D6-2A32-4173-9E53-846016FDF470}" dt="2021-11-03T09:51:39.860" v="111" actId="1076"/>
          <ac:picMkLst>
            <pc:docMk/>
            <pc:sldMk cId="3348598194" sldId="302"/>
            <ac:picMk id="14" creationId="{8C7C72E9-0E44-47E8-8B21-E37AC2CF6D25}"/>
          </ac:picMkLst>
        </pc:picChg>
        <pc:picChg chg="mod">
          <ac:chgData name="Eleanor Matthews" userId="1dbbd07e-8a95-40e8-8c1a-2b505657be5c" providerId="ADAL" clId="{12F888D6-2A32-4173-9E53-846016FDF470}" dt="2021-11-03T09:51:41.916" v="114" actId="1076"/>
          <ac:picMkLst>
            <pc:docMk/>
            <pc:sldMk cId="3348598194" sldId="302"/>
            <ac:picMk id="15" creationId="{79A11E70-8FAD-4FEC-BB23-E923899A6809}"/>
          </ac:picMkLst>
        </pc:picChg>
        <pc:picChg chg="add mod">
          <ac:chgData name="Eleanor Matthews" userId="1dbbd07e-8a95-40e8-8c1a-2b505657be5c" providerId="ADAL" clId="{12F888D6-2A32-4173-9E53-846016FDF470}" dt="2021-11-03T09:51:36.932" v="110" actId="1076"/>
          <ac:picMkLst>
            <pc:docMk/>
            <pc:sldMk cId="3348598194" sldId="302"/>
            <ac:picMk id="18" creationId="{236D050C-B8AF-43AA-BEE3-D1154C568DD5}"/>
          </ac:picMkLst>
        </pc:picChg>
      </pc:sldChg>
      <pc:sldChg chg="modSp mod">
        <pc:chgData name="Eleanor Matthews" userId="1dbbd07e-8a95-40e8-8c1a-2b505657be5c" providerId="ADAL" clId="{12F888D6-2A32-4173-9E53-846016FDF470}" dt="2021-11-01T12:25:34.259" v="62" actId="1076"/>
        <pc:sldMkLst>
          <pc:docMk/>
          <pc:sldMk cId="2607164340" sldId="308"/>
        </pc:sldMkLst>
        <pc:spChg chg="mod">
          <ac:chgData name="Eleanor Matthews" userId="1dbbd07e-8a95-40e8-8c1a-2b505657be5c" providerId="ADAL" clId="{12F888D6-2A32-4173-9E53-846016FDF470}" dt="2021-11-01T12:25:29.091" v="60" actId="1076"/>
          <ac:spMkLst>
            <pc:docMk/>
            <pc:sldMk cId="2607164340" sldId="308"/>
            <ac:spMk id="5" creationId="{0ADEACBC-32F0-4851-9822-9A70B114F8E4}"/>
          </ac:spMkLst>
        </pc:spChg>
        <pc:spChg chg="mod">
          <ac:chgData name="Eleanor Matthews" userId="1dbbd07e-8a95-40e8-8c1a-2b505657be5c" providerId="ADAL" clId="{12F888D6-2A32-4173-9E53-846016FDF470}" dt="2021-11-01T12:25:34.259" v="62" actId="1076"/>
          <ac:spMkLst>
            <pc:docMk/>
            <pc:sldMk cId="2607164340" sldId="308"/>
            <ac:spMk id="7" creationId="{4AD147FD-406A-4BD9-A4B1-09E3EADCFEF3}"/>
          </ac:spMkLst>
        </pc:spChg>
        <pc:spChg chg="mod">
          <ac:chgData name="Eleanor Matthews" userId="1dbbd07e-8a95-40e8-8c1a-2b505657be5c" providerId="ADAL" clId="{12F888D6-2A32-4173-9E53-846016FDF470}" dt="2021-11-01T12:25:32.287" v="61" actId="1076"/>
          <ac:spMkLst>
            <pc:docMk/>
            <pc:sldMk cId="2607164340" sldId="308"/>
            <ac:spMk id="9" creationId="{B0BC8AB0-7341-4A0A-85F9-1571F200B6A6}"/>
          </ac:spMkLst>
        </pc:spChg>
      </pc:sldChg>
      <pc:sldChg chg="del">
        <pc:chgData name="Eleanor Matthews" userId="1dbbd07e-8a95-40e8-8c1a-2b505657be5c" providerId="ADAL" clId="{12F888D6-2A32-4173-9E53-846016FDF470}" dt="2021-11-01T12:23:51.076" v="10" actId="47"/>
        <pc:sldMkLst>
          <pc:docMk/>
          <pc:sldMk cId="3437424469" sldId="311"/>
        </pc:sldMkLst>
      </pc:sldChg>
      <pc:sldChg chg="addSp delSp modSp mod">
        <pc:chgData name="Eleanor Matthews" userId="1dbbd07e-8a95-40e8-8c1a-2b505657be5c" providerId="ADAL" clId="{12F888D6-2A32-4173-9E53-846016FDF470}" dt="2021-11-01T12:24:00.412" v="13" actId="1076"/>
        <pc:sldMkLst>
          <pc:docMk/>
          <pc:sldMk cId="3997802225" sldId="312"/>
        </pc:sldMkLst>
        <pc:spChg chg="add del">
          <ac:chgData name="Eleanor Matthews" userId="1dbbd07e-8a95-40e8-8c1a-2b505657be5c" providerId="ADAL" clId="{12F888D6-2A32-4173-9E53-846016FDF470}" dt="2021-11-01T12:23:20.343" v="2" actId="478"/>
          <ac:spMkLst>
            <pc:docMk/>
            <pc:sldMk cId="3997802225" sldId="312"/>
            <ac:spMk id="3" creationId="{E9DD304A-61F3-4DB2-88C2-3E8F8A09C34E}"/>
          </ac:spMkLst>
        </pc:spChg>
        <pc:spChg chg="add del mod">
          <ac:chgData name="Eleanor Matthews" userId="1dbbd07e-8a95-40e8-8c1a-2b505657be5c" providerId="ADAL" clId="{12F888D6-2A32-4173-9E53-846016FDF470}" dt="2021-11-01T12:23:20.343" v="2" actId="478"/>
          <ac:spMkLst>
            <pc:docMk/>
            <pc:sldMk cId="3997802225" sldId="312"/>
            <ac:spMk id="4" creationId="{532F3299-8E93-4E27-B030-ACF8CF1AFC0E}"/>
          </ac:spMkLst>
        </pc:spChg>
        <pc:spChg chg="add mod">
          <ac:chgData name="Eleanor Matthews" userId="1dbbd07e-8a95-40e8-8c1a-2b505657be5c" providerId="ADAL" clId="{12F888D6-2A32-4173-9E53-846016FDF470}" dt="2021-11-01T12:23:53.467" v="12" actId="1076"/>
          <ac:spMkLst>
            <pc:docMk/>
            <pc:sldMk cId="3997802225" sldId="312"/>
            <ac:spMk id="7" creationId="{928069C5-18E3-40CA-9FF3-46E58CDDB1E8}"/>
          </ac:spMkLst>
        </pc:spChg>
        <pc:spChg chg="add del mod">
          <ac:chgData name="Eleanor Matthews" userId="1dbbd07e-8a95-40e8-8c1a-2b505657be5c" providerId="ADAL" clId="{12F888D6-2A32-4173-9E53-846016FDF470}" dt="2021-11-01T12:24:00.412" v="13" actId="1076"/>
          <ac:spMkLst>
            <pc:docMk/>
            <pc:sldMk cId="3997802225" sldId="312"/>
            <ac:spMk id="13" creationId="{EA0F2A5C-26AB-4B45-8E14-FFC3F025F66E}"/>
          </ac:spMkLst>
        </pc:spChg>
        <pc:picChg chg="add del">
          <ac:chgData name="Eleanor Matthews" userId="1dbbd07e-8a95-40e8-8c1a-2b505657be5c" providerId="ADAL" clId="{12F888D6-2A32-4173-9E53-846016FDF470}" dt="2021-11-01T12:23:20.343" v="2" actId="478"/>
          <ac:picMkLst>
            <pc:docMk/>
            <pc:sldMk cId="3997802225" sldId="312"/>
            <ac:picMk id="11" creationId="{B5D5EC74-12E5-4EDA-9021-8FED4B8407DB}"/>
          </ac:picMkLst>
        </pc:picChg>
      </pc:sldChg>
      <pc:sldChg chg="addSp modSp new mod ord">
        <pc:chgData name="Eleanor Matthews" userId="1dbbd07e-8a95-40e8-8c1a-2b505657be5c" providerId="ADAL" clId="{12F888D6-2A32-4173-9E53-846016FDF470}" dt="2021-11-03T09:55:16.605" v="223"/>
        <pc:sldMkLst>
          <pc:docMk/>
          <pc:sldMk cId="3682028323" sldId="313"/>
        </pc:sldMkLst>
        <pc:spChg chg="mod">
          <ac:chgData name="Eleanor Matthews" userId="1dbbd07e-8a95-40e8-8c1a-2b505657be5c" providerId="ADAL" clId="{12F888D6-2A32-4173-9E53-846016FDF470}" dt="2021-11-03T09:53:30.376" v="213"/>
          <ac:spMkLst>
            <pc:docMk/>
            <pc:sldMk cId="3682028323" sldId="313"/>
            <ac:spMk id="2" creationId="{6F09B461-910A-477E-81FC-7D30F7CFE1B0}"/>
          </ac:spMkLst>
        </pc:spChg>
        <pc:picChg chg="add mod">
          <ac:chgData name="Eleanor Matthews" userId="1dbbd07e-8a95-40e8-8c1a-2b505657be5c" providerId="ADAL" clId="{12F888D6-2A32-4173-9E53-846016FDF470}" dt="2021-11-03T09:53:59.878" v="215" actId="1076"/>
          <ac:picMkLst>
            <pc:docMk/>
            <pc:sldMk cId="3682028323" sldId="313"/>
            <ac:picMk id="3" creationId="{4272AC8E-5DC8-45D7-AF30-8050F5C17D9E}"/>
          </ac:picMkLst>
        </pc:picChg>
      </pc:sldChg>
      <pc:sldChg chg="addSp delSp modSp new mod">
        <pc:chgData name="Eleanor Matthews" userId="1dbbd07e-8a95-40e8-8c1a-2b505657be5c" providerId="ADAL" clId="{12F888D6-2A32-4173-9E53-846016FDF470}" dt="2021-11-03T10:37:48.713" v="370" actId="1076"/>
        <pc:sldMkLst>
          <pc:docMk/>
          <pc:sldMk cId="914860887" sldId="314"/>
        </pc:sldMkLst>
        <pc:spChg chg="mod">
          <ac:chgData name="Eleanor Matthews" userId="1dbbd07e-8a95-40e8-8c1a-2b505657be5c" providerId="ADAL" clId="{12F888D6-2A32-4173-9E53-846016FDF470}" dt="2021-11-03T09:54:07" v="217"/>
          <ac:spMkLst>
            <pc:docMk/>
            <pc:sldMk cId="914860887" sldId="314"/>
            <ac:spMk id="2" creationId="{7FC89D97-5665-47E1-811E-7E91EFD9BE1B}"/>
          </ac:spMkLst>
        </pc:spChg>
        <pc:picChg chg="add mod modCrop">
          <ac:chgData name="Eleanor Matthews" userId="1dbbd07e-8a95-40e8-8c1a-2b505657be5c" providerId="ADAL" clId="{12F888D6-2A32-4173-9E53-846016FDF470}" dt="2021-11-03T10:37:48.713" v="370" actId="1076"/>
          <ac:picMkLst>
            <pc:docMk/>
            <pc:sldMk cId="914860887" sldId="314"/>
            <ac:picMk id="4" creationId="{FDDBE1BD-63FC-40AC-B09C-7DC271530CB8}"/>
          </ac:picMkLst>
        </pc:picChg>
        <pc:picChg chg="add mod modCrop">
          <ac:chgData name="Eleanor Matthews" userId="1dbbd07e-8a95-40e8-8c1a-2b505657be5c" providerId="ADAL" clId="{12F888D6-2A32-4173-9E53-846016FDF470}" dt="2021-11-03T10:37:33.273" v="367" actId="1076"/>
          <ac:picMkLst>
            <pc:docMk/>
            <pc:sldMk cId="914860887" sldId="314"/>
            <ac:picMk id="6" creationId="{93AEC072-297A-4FDC-BFC7-439CDBFC663E}"/>
          </ac:picMkLst>
        </pc:picChg>
        <pc:picChg chg="add mod">
          <ac:chgData name="Eleanor Matthews" userId="1dbbd07e-8a95-40e8-8c1a-2b505657be5c" providerId="ADAL" clId="{12F888D6-2A32-4173-9E53-846016FDF470}" dt="2021-11-03T10:32:40.322" v="358" actId="14100"/>
          <ac:picMkLst>
            <pc:docMk/>
            <pc:sldMk cId="914860887" sldId="314"/>
            <ac:picMk id="8" creationId="{8DC0696D-2A7E-4F97-997B-C93C1633E688}"/>
          </ac:picMkLst>
        </pc:picChg>
        <pc:picChg chg="add mod">
          <ac:chgData name="Eleanor Matthews" userId="1dbbd07e-8a95-40e8-8c1a-2b505657be5c" providerId="ADAL" clId="{12F888D6-2A32-4173-9E53-846016FDF470}" dt="2021-11-03T10:28:42.161" v="294" actId="1076"/>
          <ac:picMkLst>
            <pc:docMk/>
            <pc:sldMk cId="914860887" sldId="314"/>
            <ac:picMk id="10" creationId="{77DE7984-AED0-4A38-81A8-09E877A528BA}"/>
          </ac:picMkLst>
        </pc:picChg>
        <pc:picChg chg="add mod">
          <ac:chgData name="Eleanor Matthews" userId="1dbbd07e-8a95-40e8-8c1a-2b505657be5c" providerId="ADAL" clId="{12F888D6-2A32-4173-9E53-846016FDF470}" dt="2021-11-03T10:32:45.311" v="361" actId="1076"/>
          <ac:picMkLst>
            <pc:docMk/>
            <pc:sldMk cId="914860887" sldId="314"/>
            <ac:picMk id="12" creationId="{084B1A45-DD46-43FF-83E4-6D4DF8E55A29}"/>
          </ac:picMkLst>
        </pc:picChg>
        <pc:picChg chg="add del mod">
          <ac:chgData name="Eleanor Matthews" userId="1dbbd07e-8a95-40e8-8c1a-2b505657be5c" providerId="ADAL" clId="{12F888D6-2A32-4173-9E53-846016FDF470}" dt="2021-11-03T10:24:35.297" v="269" actId="478"/>
          <ac:picMkLst>
            <pc:docMk/>
            <pc:sldMk cId="914860887" sldId="314"/>
            <ac:picMk id="14" creationId="{37EDF640-DE4E-416E-A213-E84138DFC34A}"/>
          </ac:picMkLst>
        </pc:picChg>
        <pc:picChg chg="add del mod modCrop">
          <ac:chgData name="Eleanor Matthews" userId="1dbbd07e-8a95-40e8-8c1a-2b505657be5c" providerId="ADAL" clId="{12F888D6-2A32-4173-9E53-846016FDF470}" dt="2021-11-03T10:26:47.632" v="285" actId="478"/>
          <ac:picMkLst>
            <pc:docMk/>
            <pc:sldMk cId="914860887" sldId="314"/>
            <ac:picMk id="16" creationId="{2038416E-72D6-4624-96BC-547466602171}"/>
          </ac:picMkLst>
        </pc:picChg>
        <pc:picChg chg="add mod">
          <ac:chgData name="Eleanor Matthews" userId="1dbbd07e-8a95-40e8-8c1a-2b505657be5c" providerId="ADAL" clId="{12F888D6-2A32-4173-9E53-846016FDF470}" dt="2021-11-03T10:32:22.540" v="350" actId="1076"/>
          <ac:picMkLst>
            <pc:docMk/>
            <pc:sldMk cId="914860887" sldId="314"/>
            <ac:picMk id="18" creationId="{054D15FE-99BE-420C-9A9C-255572B7FD25}"/>
          </ac:picMkLst>
        </pc:picChg>
        <pc:picChg chg="add mod">
          <ac:chgData name="Eleanor Matthews" userId="1dbbd07e-8a95-40e8-8c1a-2b505657be5c" providerId="ADAL" clId="{12F888D6-2A32-4173-9E53-846016FDF470}" dt="2021-11-03T10:30:22.757" v="336" actId="14100"/>
          <ac:picMkLst>
            <pc:docMk/>
            <pc:sldMk cId="914860887" sldId="314"/>
            <ac:picMk id="20" creationId="{403D28B6-BC6E-4A49-8B54-C4A64C4E6750}"/>
          </ac:picMkLst>
        </pc:picChg>
        <pc:picChg chg="add mod">
          <ac:chgData name="Eleanor Matthews" userId="1dbbd07e-8a95-40e8-8c1a-2b505657be5c" providerId="ADAL" clId="{12F888D6-2A32-4173-9E53-846016FDF470}" dt="2021-11-03T10:32:43.174" v="360" actId="1076"/>
          <ac:picMkLst>
            <pc:docMk/>
            <pc:sldMk cId="914860887" sldId="314"/>
            <ac:picMk id="22" creationId="{EC189975-60B8-4314-979F-45036C3DCD32}"/>
          </ac:picMkLst>
        </pc:picChg>
        <pc:picChg chg="add mod">
          <ac:chgData name="Eleanor Matthews" userId="1dbbd07e-8a95-40e8-8c1a-2b505657be5c" providerId="ADAL" clId="{12F888D6-2A32-4173-9E53-846016FDF470}" dt="2021-11-03T10:36:12.545" v="363" actId="1076"/>
          <ac:picMkLst>
            <pc:docMk/>
            <pc:sldMk cId="914860887" sldId="314"/>
            <ac:picMk id="24" creationId="{27BCA897-0BE8-45EB-9B2F-90642075476B}"/>
          </ac:picMkLst>
        </pc:picChg>
      </pc:sldChg>
      <pc:sldChg chg="addSp new mod">
        <pc:chgData name="Eleanor Matthews" userId="1dbbd07e-8a95-40e8-8c1a-2b505657be5c" providerId="ADAL" clId="{12F888D6-2A32-4173-9E53-846016FDF470}" dt="2021-11-04T09:24:20.037" v="372" actId="22"/>
        <pc:sldMkLst>
          <pc:docMk/>
          <pc:sldMk cId="3558148336" sldId="315"/>
        </pc:sldMkLst>
        <pc:picChg chg="add">
          <ac:chgData name="Eleanor Matthews" userId="1dbbd07e-8a95-40e8-8c1a-2b505657be5c" providerId="ADAL" clId="{12F888D6-2A32-4173-9E53-846016FDF470}" dt="2021-11-04T09:24:20.037" v="372" actId="22"/>
          <ac:picMkLst>
            <pc:docMk/>
            <pc:sldMk cId="3558148336" sldId="315"/>
            <ac:picMk id="4" creationId="{344024A7-724D-440B-80B8-F1FD119DB241}"/>
          </ac:picMkLst>
        </pc:picChg>
      </pc:sldChg>
      <pc:sldChg chg="addSp new mod">
        <pc:chgData name="Eleanor Matthews" userId="1dbbd07e-8a95-40e8-8c1a-2b505657be5c" providerId="ADAL" clId="{12F888D6-2A32-4173-9E53-846016FDF470}" dt="2021-11-04T09:27:25.726" v="374" actId="22"/>
        <pc:sldMkLst>
          <pc:docMk/>
          <pc:sldMk cId="2073633126" sldId="316"/>
        </pc:sldMkLst>
        <pc:picChg chg="add">
          <ac:chgData name="Eleanor Matthews" userId="1dbbd07e-8a95-40e8-8c1a-2b505657be5c" providerId="ADAL" clId="{12F888D6-2A32-4173-9E53-846016FDF470}" dt="2021-11-04T09:27:25.726" v="374" actId="22"/>
          <ac:picMkLst>
            <pc:docMk/>
            <pc:sldMk cId="2073633126" sldId="316"/>
            <ac:picMk id="4" creationId="{5770622E-1BB5-482A-BEE1-023D2F466D84}"/>
          </ac:picMkLst>
        </pc:picChg>
      </pc:sldChg>
      <pc:sldChg chg="addSp new mod">
        <pc:chgData name="Eleanor Matthews" userId="1dbbd07e-8a95-40e8-8c1a-2b505657be5c" providerId="ADAL" clId="{12F888D6-2A32-4173-9E53-846016FDF470}" dt="2021-11-04T09:29:59.644" v="376" actId="22"/>
        <pc:sldMkLst>
          <pc:docMk/>
          <pc:sldMk cId="1988393413" sldId="317"/>
        </pc:sldMkLst>
        <pc:picChg chg="add">
          <ac:chgData name="Eleanor Matthews" userId="1dbbd07e-8a95-40e8-8c1a-2b505657be5c" providerId="ADAL" clId="{12F888D6-2A32-4173-9E53-846016FDF470}" dt="2021-11-04T09:29:59.644" v="376" actId="22"/>
          <ac:picMkLst>
            <pc:docMk/>
            <pc:sldMk cId="1988393413" sldId="317"/>
            <ac:picMk id="4" creationId="{D658E471-8A9F-4AE6-AF92-16A7B003C41F}"/>
          </ac:picMkLst>
        </pc:picChg>
      </pc:sldChg>
      <pc:sldChg chg="addSp modSp new mod">
        <pc:chgData name="Eleanor Matthews" userId="1dbbd07e-8a95-40e8-8c1a-2b505657be5c" providerId="ADAL" clId="{12F888D6-2A32-4173-9E53-846016FDF470}" dt="2021-11-04T09:30:57.209" v="380" actId="14100"/>
        <pc:sldMkLst>
          <pc:docMk/>
          <pc:sldMk cId="1077541253" sldId="318"/>
        </pc:sldMkLst>
        <pc:picChg chg="add mod">
          <ac:chgData name="Eleanor Matthews" userId="1dbbd07e-8a95-40e8-8c1a-2b505657be5c" providerId="ADAL" clId="{12F888D6-2A32-4173-9E53-846016FDF470}" dt="2021-11-04T09:30:57.209" v="380" actId="14100"/>
          <ac:picMkLst>
            <pc:docMk/>
            <pc:sldMk cId="1077541253" sldId="318"/>
            <ac:picMk id="4" creationId="{75860CD7-E708-4BA8-A7F0-DCEE7A84A7F2}"/>
          </ac:picMkLst>
        </pc:picChg>
      </pc:sldChg>
      <pc:sldChg chg="addSp new mod">
        <pc:chgData name="Eleanor Matthews" userId="1dbbd07e-8a95-40e8-8c1a-2b505657be5c" providerId="ADAL" clId="{12F888D6-2A32-4173-9E53-846016FDF470}" dt="2021-11-04T09:31:36.401" v="382" actId="22"/>
        <pc:sldMkLst>
          <pc:docMk/>
          <pc:sldMk cId="628452728" sldId="319"/>
        </pc:sldMkLst>
        <pc:picChg chg="add">
          <ac:chgData name="Eleanor Matthews" userId="1dbbd07e-8a95-40e8-8c1a-2b505657be5c" providerId="ADAL" clId="{12F888D6-2A32-4173-9E53-846016FDF470}" dt="2021-11-04T09:31:36.401" v="382" actId="22"/>
          <ac:picMkLst>
            <pc:docMk/>
            <pc:sldMk cId="628452728" sldId="319"/>
            <ac:picMk id="3" creationId="{54F5566E-C826-46B4-B4F0-F32B51F31B2D}"/>
          </ac:picMkLst>
        </pc:picChg>
      </pc:sldChg>
      <pc:sldChg chg="addSp new mod">
        <pc:chgData name="Eleanor Matthews" userId="1dbbd07e-8a95-40e8-8c1a-2b505657be5c" providerId="ADAL" clId="{12F888D6-2A32-4173-9E53-846016FDF470}" dt="2021-11-04T09:32:11.540" v="384" actId="22"/>
        <pc:sldMkLst>
          <pc:docMk/>
          <pc:sldMk cId="1721738184" sldId="320"/>
        </pc:sldMkLst>
        <pc:picChg chg="add">
          <ac:chgData name="Eleanor Matthews" userId="1dbbd07e-8a95-40e8-8c1a-2b505657be5c" providerId="ADAL" clId="{12F888D6-2A32-4173-9E53-846016FDF470}" dt="2021-11-04T09:32:11.540" v="384" actId="22"/>
          <ac:picMkLst>
            <pc:docMk/>
            <pc:sldMk cId="1721738184" sldId="320"/>
            <ac:picMk id="3" creationId="{82BF4C27-811B-4D7E-B03D-353BCCD96009}"/>
          </ac:picMkLst>
        </pc:picChg>
      </pc:sldChg>
      <pc:sldChg chg="addSp new mod">
        <pc:chgData name="Eleanor Matthews" userId="1dbbd07e-8a95-40e8-8c1a-2b505657be5c" providerId="ADAL" clId="{12F888D6-2A32-4173-9E53-846016FDF470}" dt="2021-11-04T09:32:44.279" v="386" actId="22"/>
        <pc:sldMkLst>
          <pc:docMk/>
          <pc:sldMk cId="808020596" sldId="321"/>
        </pc:sldMkLst>
        <pc:picChg chg="add">
          <ac:chgData name="Eleanor Matthews" userId="1dbbd07e-8a95-40e8-8c1a-2b505657be5c" providerId="ADAL" clId="{12F888D6-2A32-4173-9E53-846016FDF470}" dt="2021-11-04T09:32:44.279" v="386" actId="22"/>
          <ac:picMkLst>
            <pc:docMk/>
            <pc:sldMk cId="808020596" sldId="321"/>
            <ac:picMk id="3" creationId="{587FDD11-31ED-458B-9D8F-A600CC53E39A}"/>
          </ac:picMkLst>
        </pc:picChg>
      </pc:sldChg>
      <pc:sldChg chg="addSp new mod">
        <pc:chgData name="Eleanor Matthews" userId="1dbbd07e-8a95-40e8-8c1a-2b505657be5c" providerId="ADAL" clId="{12F888D6-2A32-4173-9E53-846016FDF470}" dt="2021-11-04T09:36:34.492" v="388" actId="22"/>
        <pc:sldMkLst>
          <pc:docMk/>
          <pc:sldMk cId="3064004089" sldId="322"/>
        </pc:sldMkLst>
        <pc:picChg chg="add">
          <ac:chgData name="Eleanor Matthews" userId="1dbbd07e-8a95-40e8-8c1a-2b505657be5c" providerId="ADAL" clId="{12F888D6-2A32-4173-9E53-846016FDF470}" dt="2021-11-04T09:36:34.492" v="388" actId="22"/>
          <ac:picMkLst>
            <pc:docMk/>
            <pc:sldMk cId="3064004089" sldId="322"/>
            <ac:picMk id="3" creationId="{04A45A2D-221C-468F-81D2-D97AF3A85B24}"/>
          </ac:picMkLst>
        </pc:picChg>
      </pc:sldChg>
      <pc:sldChg chg="addSp new mod">
        <pc:chgData name="Eleanor Matthews" userId="1dbbd07e-8a95-40e8-8c1a-2b505657be5c" providerId="ADAL" clId="{12F888D6-2A32-4173-9E53-846016FDF470}" dt="2021-11-04T09:37:04.270" v="390" actId="22"/>
        <pc:sldMkLst>
          <pc:docMk/>
          <pc:sldMk cId="1193676469" sldId="323"/>
        </pc:sldMkLst>
        <pc:picChg chg="add">
          <ac:chgData name="Eleanor Matthews" userId="1dbbd07e-8a95-40e8-8c1a-2b505657be5c" providerId="ADAL" clId="{12F888D6-2A32-4173-9E53-846016FDF470}" dt="2021-11-04T09:37:04.270" v="390" actId="22"/>
          <ac:picMkLst>
            <pc:docMk/>
            <pc:sldMk cId="1193676469" sldId="323"/>
            <ac:picMk id="3" creationId="{64E408A3-02CA-4064-B1E6-C4D038C71769}"/>
          </ac:picMkLst>
        </pc:picChg>
      </pc:sldChg>
      <pc:sldChg chg="addSp new mod">
        <pc:chgData name="Eleanor Matthews" userId="1dbbd07e-8a95-40e8-8c1a-2b505657be5c" providerId="ADAL" clId="{12F888D6-2A32-4173-9E53-846016FDF470}" dt="2021-11-04T09:38:03.122" v="392" actId="22"/>
        <pc:sldMkLst>
          <pc:docMk/>
          <pc:sldMk cId="329760097" sldId="324"/>
        </pc:sldMkLst>
        <pc:picChg chg="add">
          <ac:chgData name="Eleanor Matthews" userId="1dbbd07e-8a95-40e8-8c1a-2b505657be5c" providerId="ADAL" clId="{12F888D6-2A32-4173-9E53-846016FDF470}" dt="2021-11-04T09:38:03.122" v="392" actId="22"/>
          <ac:picMkLst>
            <pc:docMk/>
            <pc:sldMk cId="329760097" sldId="324"/>
            <ac:picMk id="3" creationId="{B3560C4C-E3FD-4D27-851F-3D7320D6CD9E}"/>
          </ac:picMkLst>
        </pc:picChg>
      </pc:sldChg>
      <pc:sldChg chg="addSp modSp new add del mod">
        <pc:chgData name="Eleanor Matthews" userId="1dbbd07e-8a95-40e8-8c1a-2b505657be5c" providerId="ADAL" clId="{12F888D6-2A32-4173-9E53-846016FDF470}" dt="2021-11-09T13:08:18.361" v="440" actId="14100"/>
        <pc:sldMkLst>
          <pc:docMk/>
          <pc:sldMk cId="709894758" sldId="325"/>
        </pc:sldMkLst>
        <pc:picChg chg="add mod">
          <ac:chgData name="Eleanor Matthews" userId="1dbbd07e-8a95-40e8-8c1a-2b505657be5c" providerId="ADAL" clId="{12F888D6-2A32-4173-9E53-846016FDF470}" dt="2021-11-09T13:08:18.361" v="440" actId="14100"/>
          <ac:picMkLst>
            <pc:docMk/>
            <pc:sldMk cId="709894758" sldId="325"/>
            <ac:picMk id="2" creationId="{768E8857-D81D-4503-AE20-473A535A8B9B}"/>
          </ac:picMkLst>
        </pc:picChg>
      </pc:sldChg>
      <pc:sldChg chg="new del ord">
        <pc:chgData name="Eleanor Matthews" userId="1dbbd07e-8a95-40e8-8c1a-2b505657be5c" providerId="ADAL" clId="{12F888D6-2A32-4173-9E53-846016FDF470}" dt="2021-11-08T10:42:07.886" v="396" actId="47"/>
        <pc:sldMkLst>
          <pc:docMk/>
          <pc:sldMk cId="2208977934" sldId="325"/>
        </pc:sldMkLst>
      </pc:sldChg>
      <pc:sldChg chg="addSp new del mod">
        <pc:chgData name="Eleanor Matthews" userId="1dbbd07e-8a95-40e8-8c1a-2b505657be5c" providerId="ADAL" clId="{12F888D6-2A32-4173-9E53-846016FDF470}" dt="2021-11-09T13:06:19.957" v="412" actId="47"/>
        <pc:sldMkLst>
          <pc:docMk/>
          <pc:sldMk cId="3436591544" sldId="325"/>
        </pc:sldMkLst>
        <pc:picChg chg="add">
          <ac:chgData name="Eleanor Matthews" userId="1dbbd07e-8a95-40e8-8c1a-2b505657be5c" providerId="ADAL" clId="{12F888D6-2A32-4173-9E53-846016FDF470}" dt="2021-11-08T10:42:36.036" v="398" actId="22"/>
          <ac:picMkLst>
            <pc:docMk/>
            <pc:sldMk cId="3436591544" sldId="325"/>
            <ac:picMk id="3" creationId="{4E650CE8-56E4-4C39-9245-7FFD8AF1D9A2}"/>
          </ac:picMkLst>
        </pc:picChg>
      </pc:sldChg>
      <pc:sldChg chg="addSp new del mod">
        <pc:chgData name="Eleanor Matthews" userId="1dbbd07e-8a95-40e8-8c1a-2b505657be5c" providerId="ADAL" clId="{12F888D6-2A32-4173-9E53-846016FDF470}" dt="2021-11-09T13:06:21.937" v="413" actId="47"/>
        <pc:sldMkLst>
          <pc:docMk/>
          <pc:sldMk cId="762117993" sldId="326"/>
        </pc:sldMkLst>
        <pc:picChg chg="add">
          <ac:chgData name="Eleanor Matthews" userId="1dbbd07e-8a95-40e8-8c1a-2b505657be5c" providerId="ADAL" clId="{12F888D6-2A32-4173-9E53-846016FDF470}" dt="2021-11-08T10:43:14.843" v="400" actId="22"/>
          <ac:picMkLst>
            <pc:docMk/>
            <pc:sldMk cId="762117993" sldId="326"/>
            <ac:picMk id="3" creationId="{F7C53FB1-9D08-4A58-BDB0-5E5F49F7609B}"/>
          </ac:picMkLst>
        </pc:picChg>
      </pc:sldChg>
      <pc:sldChg chg="addSp new del mod">
        <pc:chgData name="Eleanor Matthews" userId="1dbbd07e-8a95-40e8-8c1a-2b505657be5c" providerId="ADAL" clId="{12F888D6-2A32-4173-9E53-846016FDF470}" dt="2021-11-09T13:06:22.796" v="414" actId="47"/>
        <pc:sldMkLst>
          <pc:docMk/>
          <pc:sldMk cId="1453407127" sldId="327"/>
        </pc:sldMkLst>
        <pc:picChg chg="add">
          <ac:chgData name="Eleanor Matthews" userId="1dbbd07e-8a95-40e8-8c1a-2b505657be5c" providerId="ADAL" clId="{12F888D6-2A32-4173-9E53-846016FDF470}" dt="2021-11-08T10:43:46.791" v="402" actId="22"/>
          <ac:picMkLst>
            <pc:docMk/>
            <pc:sldMk cId="1453407127" sldId="327"/>
            <ac:picMk id="3" creationId="{DA1308E5-46E4-4902-B018-6AF6E236402F}"/>
          </ac:picMkLst>
        </pc:picChg>
      </pc:sldChg>
      <pc:sldChg chg="addSp new del mod">
        <pc:chgData name="Eleanor Matthews" userId="1dbbd07e-8a95-40e8-8c1a-2b505657be5c" providerId="ADAL" clId="{12F888D6-2A32-4173-9E53-846016FDF470}" dt="2021-11-09T13:06:23.445" v="415" actId="47"/>
        <pc:sldMkLst>
          <pc:docMk/>
          <pc:sldMk cId="3280342771" sldId="328"/>
        </pc:sldMkLst>
        <pc:picChg chg="add">
          <ac:chgData name="Eleanor Matthews" userId="1dbbd07e-8a95-40e8-8c1a-2b505657be5c" providerId="ADAL" clId="{12F888D6-2A32-4173-9E53-846016FDF470}" dt="2021-11-08T10:44:19.209" v="404" actId="22"/>
          <ac:picMkLst>
            <pc:docMk/>
            <pc:sldMk cId="3280342771" sldId="328"/>
            <ac:picMk id="3" creationId="{82409086-595F-46AA-9819-04FE3362537E}"/>
          </ac:picMkLst>
        </pc:picChg>
      </pc:sldChg>
      <pc:sldChg chg="addSp new del mod">
        <pc:chgData name="Eleanor Matthews" userId="1dbbd07e-8a95-40e8-8c1a-2b505657be5c" providerId="ADAL" clId="{12F888D6-2A32-4173-9E53-846016FDF470}" dt="2021-11-09T13:06:23.988" v="416" actId="47"/>
        <pc:sldMkLst>
          <pc:docMk/>
          <pc:sldMk cId="3473362659" sldId="329"/>
        </pc:sldMkLst>
        <pc:picChg chg="add">
          <ac:chgData name="Eleanor Matthews" userId="1dbbd07e-8a95-40e8-8c1a-2b505657be5c" providerId="ADAL" clId="{12F888D6-2A32-4173-9E53-846016FDF470}" dt="2021-11-08T10:44:49.990" v="406" actId="22"/>
          <ac:picMkLst>
            <pc:docMk/>
            <pc:sldMk cId="3473362659" sldId="329"/>
            <ac:picMk id="3" creationId="{D909545B-5BB5-40C7-87A2-583E1A8F6081}"/>
          </ac:picMkLst>
        </pc:picChg>
      </pc:sldChg>
      <pc:sldChg chg="addSp new del mod">
        <pc:chgData name="Eleanor Matthews" userId="1dbbd07e-8a95-40e8-8c1a-2b505657be5c" providerId="ADAL" clId="{12F888D6-2A32-4173-9E53-846016FDF470}" dt="2021-11-09T13:06:24.567" v="417" actId="47"/>
        <pc:sldMkLst>
          <pc:docMk/>
          <pc:sldMk cId="4267822797" sldId="330"/>
        </pc:sldMkLst>
        <pc:picChg chg="add">
          <ac:chgData name="Eleanor Matthews" userId="1dbbd07e-8a95-40e8-8c1a-2b505657be5c" providerId="ADAL" clId="{12F888D6-2A32-4173-9E53-846016FDF470}" dt="2021-11-08T10:45:29.232" v="408" actId="22"/>
          <ac:picMkLst>
            <pc:docMk/>
            <pc:sldMk cId="4267822797" sldId="330"/>
            <ac:picMk id="3" creationId="{D20E2099-3E88-46CF-90D1-F443A4420AA1}"/>
          </ac:picMkLst>
        </pc:picChg>
      </pc:sldChg>
      <pc:sldChg chg="addSp modSp new del mod">
        <pc:chgData name="Eleanor Matthews" userId="1dbbd07e-8a95-40e8-8c1a-2b505657be5c" providerId="ADAL" clId="{12F888D6-2A32-4173-9E53-846016FDF470}" dt="2021-11-09T13:06:25.425" v="418" actId="47"/>
        <pc:sldMkLst>
          <pc:docMk/>
          <pc:sldMk cId="3316843235" sldId="331"/>
        </pc:sldMkLst>
        <pc:picChg chg="add mod">
          <ac:chgData name="Eleanor Matthews" userId="1dbbd07e-8a95-40e8-8c1a-2b505657be5c" providerId="ADAL" clId="{12F888D6-2A32-4173-9E53-846016FDF470}" dt="2021-11-08T10:46:28.769" v="411" actId="14100"/>
          <ac:picMkLst>
            <pc:docMk/>
            <pc:sldMk cId="3316843235" sldId="331"/>
            <ac:picMk id="3" creationId="{3A806DF4-E0F4-40A6-AFCF-90E5D5534958}"/>
          </ac:picMkLst>
        </pc:picChg>
      </pc:sldChg>
      <pc:sldChg chg="add ord modTransition">
        <pc:chgData name="Eleanor Matthews" userId="1dbbd07e-8a95-40e8-8c1a-2b505657be5c" providerId="ADAL" clId="{12F888D6-2A32-4173-9E53-846016FDF470}" dt="2021-11-09T13:06:46.075" v="424"/>
        <pc:sldMkLst>
          <pc:docMk/>
          <pc:sldMk cId="3182137763" sldId="335"/>
        </pc:sldMkLst>
      </pc:sldChg>
      <pc:sldChg chg="add del ord">
        <pc:chgData name="Eleanor Matthews" userId="1dbbd07e-8a95-40e8-8c1a-2b505657be5c" providerId="ADAL" clId="{12F888D6-2A32-4173-9E53-846016FDF470}" dt="2021-11-10T09:10:10.676" v="474" actId="47"/>
        <pc:sldMkLst>
          <pc:docMk/>
          <pc:sldMk cId="831369413" sldId="336"/>
        </pc:sldMkLst>
      </pc:sldChg>
      <pc:sldChg chg="add">
        <pc:chgData name="Eleanor Matthews" userId="1dbbd07e-8a95-40e8-8c1a-2b505657be5c" providerId="ADAL" clId="{12F888D6-2A32-4173-9E53-846016FDF470}" dt="2021-11-09T13:06:54.124" v="425"/>
        <pc:sldMkLst>
          <pc:docMk/>
          <pc:sldMk cId="3058728307" sldId="421"/>
        </pc:sldMkLst>
      </pc:sldChg>
      <pc:sldChg chg="add">
        <pc:chgData name="Eleanor Matthews" userId="1dbbd07e-8a95-40e8-8c1a-2b505657be5c" providerId="ADAL" clId="{12F888D6-2A32-4173-9E53-846016FDF470}" dt="2021-11-09T13:07:08.785" v="426"/>
        <pc:sldMkLst>
          <pc:docMk/>
          <pc:sldMk cId="3508767890" sldId="549"/>
        </pc:sldMkLst>
      </pc:sldChg>
      <pc:sldChg chg="add">
        <pc:chgData name="Eleanor Matthews" userId="1dbbd07e-8a95-40e8-8c1a-2b505657be5c" providerId="ADAL" clId="{12F888D6-2A32-4173-9E53-846016FDF470}" dt="2021-11-09T13:07:18.475" v="427"/>
        <pc:sldMkLst>
          <pc:docMk/>
          <pc:sldMk cId="3272034346" sldId="550"/>
        </pc:sldMkLst>
      </pc:sldChg>
      <pc:sldChg chg="add">
        <pc:chgData name="Eleanor Matthews" userId="1dbbd07e-8a95-40e8-8c1a-2b505657be5c" providerId="ADAL" clId="{12F888D6-2A32-4173-9E53-846016FDF470}" dt="2021-11-09T13:07:25.960" v="428"/>
        <pc:sldMkLst>
          <pc:docMk/>
          <pc:sldMk cId="1489092967" sldId="553"/>
        </pc:sldMkLst>
      </pc:sldChg>
      <pc:sldChg chg="add">
        <pc:chgData name="Eleanor Matthews" userId="1dbbd07e-8a95-40e8-8c1a-2b505657be5c" providerId="ADAL" clId="{12F888D6-2A32-4173-9E53-846016FDF470}" dt="2021-11-09T13:07:33.696" v="429"/>
        <pc:sldMkLst>
          <pc:docMk/>
          <pc:sldMk cId="2045558637" sldId="554"/>
        </pc:sldMkLst>
      </pc:sldChg>
      <pc:sldChg chg="modSp add del modTransition">
        <pc:chgData name="Eleanor Matthews" userId="1dbbd07e-8a95-40e8-8c1a-2b505657be5c" providerId="ADAL" clId="{12F888D6-2A32-4173-9E53-846016FDF470}" dt="2021-11-09T13:08:20.304" v="441" actId="47"/>
        <pc:sldMkLst>
          <pc:docMk/>
          <pc:sldMk cId="749657446" sldId="555"/>
        </pc:sldMkLst>
        <pc:picChg chg="mod">
          <ac:chgData name="Eleanor Matthews" userId="1dbbd07e-8a95-40e8-8c1a-2b505657be5c" providerId="ADAL" clId="{12F888D6-2A32-4173-9E53-846016FDF470}" dt="2021-11-09T13:08:04.853" v="436" actId="1076"/>
          <ac:picMkLst>
            <pc:docMk/>
            <pc:sldMk cId="749657446" sldId="555"/>
            <ac:picMk id="16386" creationId="{36F67B51-58FB-4CFA-B8B9-A52FA65D133B}"/>
          </ac:picMkLst>
        </pc:picChg>
      </pc:sldChg>
      <pc:sldChg chg="new del">
        <pc:chgData name="Eleanor Matthews" userId="1dbbd07e-8a95-40e8-8c1a-2b505657be5c" providerId="ADAL" clId="{12F888D6-2A32-4173-9E53-846016FDF470}" dt="2021-11-10T09:04:31.540" v="444" actId="47"/>
        <pc:sldMkLst>
          <pc:docMk/>
          <pc:sldMk cId="1822117276" sldId="555"/>
        </pc:sldMkLst>
      </pc:sldChg>
      <pc:sldChg chg="addSp delSp modSp add del mod">
        <pc:chgData name="Eleanor Matthews" userId="1dbbd07e-8a95-40e8-8c1a-2b505657be5c" providerId="ADAL" clId="{12F888D6-2A32-4173-9E53-846016FDF470}" dt="2021-11-10T09:11:46.937" v="484"/>
        <pc:sldMkLst>
          <pc:docMk/>
          <pc:sldMk cId="3251071803" sldId="2123"/>
        </pc:sldMkLst>
        <pc:spChg chg="mod">
          <ac:chgData name="Eleanor Matthews" userId="1dbbd07e-8a95-40e8-8c1a-2b505657be5c" providerId="ADAL" clId="{12F888D6-2A32-4173-9E53-846016FDF470}" dt="2021-11-10T09:07:46.787" v="459" actId="1076"/>
          <ac:spMkLst>
            <pc:docMk/>
            <pc:sldMk cId="3251071803" sldId="2123"/>
            <ac:spMk id="3" creationId="{1C52E3CB-53CF-40F1-B0BA-48DFCCE1685A}"/>
          </ac:spMkLst>
        </pc:spChg>
        <pc:picChg chg="add del">
          <ac:chgData name="Eleanor Matthews" userId="1dbbd07e-8a95-40e8-8c1a-2b505657be5c" providerId="ADAL" clId="{12F888D6-2A32-4173-9E53-846016FDF470}" dt="2021-11-10T09:11:46.937" v="484"/>
          <ac:picMkLst>
            <pc:docMk/>
            <pc:sldMk cId="3251071803" sldId="2123"/>
            <ac:picMk id="4" creationId="{E6142FB9-8FB7-4708-A752-68EDC46EEF3C}"/>
          </ac:picMkLst>
        </pc:picChg>
      </pc:sldChg>
      <pc:sldChg chg="add del">
        <pc:chgData name="Eleanor Matthews" userId="1dbbd07e-8a95-40e8-8c1a-2b505657be5c" providerId="ADAL" clId="{12F888D6-2A32-4173-9E53-846016FDF470}" dt="2021-11-10T09:10:09.525" v="473" actId="47"/>
        <pc:sldMkLst>
          <pc:docMk/>
          <pc:sldMk cId="231612584" sldId="2128"/>
        </pc:sldMkLst>
      </pc:sldChg>
      <pc:sldChg chg="new del">
        <pc:chgData name="Eleanor Matthews" userId="1dbbd07e-8a95-40e8-8c1a-2b505657be5c" providerId="ADAL" clId="{12F888D6-2A32-4173-9E53-846016FDF470}" dt="2021-11-10T09:04:56.447" v="452" actId="47"/>
        <pc:sldMkLst>
          <pc:docMk/>
          <pc:sldMk cId="126151009" sldId="2129"/>
        </pc:sldMkLst>
      </pc:sldChg>
      <pc:sldChg chg="new del">
        <pc:chgData name="Eleanor Matthews" userId="1dbbd07e-8a95-40e8-8c1a-2b505657be5c" providerId="ADAL" clId="{12F888D6-2A32-4173-9E53-846016FDF470}" dt="2021-11-10T09:04:46.600" v="449" actId="47"/>
        <pc:sldMkLst>
          <pc:docMk/>
          <pc:sldMk cId="1441233811" sldId="2129"/>
        </pc:sldMkLst>
      </pc:sldChg>
      <pc:sldChg chg="addSp delSp add del mod">
        <pc:chgData name="Eleanor Matthews" userId="1dbbd07e-8a95-40e8-8c1a-2b505657be5c" providerId="ADAL" clId="{12F888D6-2A32-4173-9E53-846016FDF470}" dt="2021-11-10T09:13:02.374" v="489" actId="478"/>
        <pc:sldMkLst>
          <pc:docMk/>
          <pc:sldMk cId="538825539" sldId="2136"/>
        </pc:sldMkLst>
        <pc:spChg chg="del">
          <ac:chgData name="Eleanor Matthews" userId="1dbbd07e-8a95-40e8-8c1a-2b505657be5c" providerId="ADAL" clId="{12F888D6-2A32-4173-9E53-846016FDF470}" dt="2021-11-10T09:13:02.374" v="489" actId="478"/>
          <ac:spMkLst>
            <pc:docMk/>
            <pc:sldMk cId="538825539" sldId="2136"/>
            <ac:spMk id="3" creationId="{83949104-2914-4D7C-91C5-6F84680ECFDE}"/>
          </ac:spMkLst>
        </pc:spChg>
        <pc:picChg chg="add del">
          <ac:chgData name="Eleanor Matthews" userId="1dbbd07e-8a95-40e8-8c1a-2b505657be5c" providerId="ADAL" clId="{12F888D6-2A32-4173-9E53-846016FDF470}" dt="2021-11-10T09:07:27.420" v="455"/>
          <ac:picMkLst>
            <pc:docMk/>
            <pc:sldMk cId="538825539" sldId="2136"/>
            <ac:picMk id="4" creationId="{9114D3BB-383D-474E-8246-063BFAE9C99C}"/>
          </ac:picMkLst>
        </pc:picChg>
      </pc:sldChg>
      <pc:sldChg chg="new del">
        <pc:chgData name="Eleanor Matthews" userId="1dbbd07e-8a95-40e8-8c1a-2b505657be5c" providerId="ADAL" clId="{12F888D6-2A32-4173-9E53-846016FDF470}" dt="2021-11-10T09:08:28.359" v="467" actId="47"/>
        <pc:sldMkLst>
          <pc:docMk/>
          <pc:sldMk cId="862198571" sldId="2137"/>
        </pc:sldMkLst>
      </pc:sldChg>
      <pc:sldChg chg="new del">
        <pc:chgData name="Eleanor Matthews" userId="1dbbd07e-8a95-40e8-8c1a-2b505657be5c" providerId="ADAL" clId="{12F888D6-2A32-4173-9E53-846016FDF470}" dt="2021-11-10T09:07:41.252" v="458" actId="47"/>
        <pc:sldMkLst>
          <pc:docMk/>
          <pc:sldMk cId="1712072914" sldId="2137"/>
        </pc:sldMkLst>
      </pc:sldChg>
      <pc:sldChg chg="addSp delSp new del">
        <pc:chgData name="Eleanor Matthews" userId="1dbbd07e-8a95-40e8-8c1a-2b505657be5c" providerId="ADAL" clId="{12F888D6-2A32-4173-9E53-846016FDF470}" dt="2021-11-10T09:08:11.929" v="464" actId="680"/>
        <pc:sldMkLst>
          <pc:docMk/>
          <pc:sldMk cId="2515438227" sldId="2137"/>
        </pc:sldMkLst>
        <pc:picChg chg="add del">
          <ac:chgData name="Eleanor Matthews" userId="1dbbd07e-8a95-40e8-8c1a-2b505657be5c" providerId="ADAL" clId="{12F888D6-2A32-4173-9E53-846016FDF470}" dt="2021-11-10T09:08:10.826" v="463"/>
          <ac:picMkLst>
            <pc:docMk/>
            <pc:sldMk cId="2515438227" sldId="2137"/>
            <ac:picMk id="4" creationId="{CF3F0F87-C76F-4652-9F2D-69C61D286C2F}"/>
          </ac:picMkLst>
        </pc:picChg>
      </pc:sldChg>
      <pc:sldChg chg="add del">
        <pc:chgData name="Eleanor Matthews" userId="1dbbd07e-8a95-40e8-8c1a-2b505657be5c" providerId="ADAL" clId="{12F888D6-2A32-4173-9E53-846016FDF470}" dt="2021-11-10T09:12:05.863" v="486"/>
        <pc:sldMkLst>
          <pc:docMk/>
          <pc:sldMk cId="1473229005" sldId="3264"/>
        </pc:sldMkLst>
      </pc:sldChg>
      <pc:sldChg chg="add del">
        <pc:chgData name="Eleanor Matthews" userId="1dbbd07e-8a95-40e8-8c1a-2b505657be5c" providerId="ADAL" clId="{12F888D6-2A32-4173-9E53-846016FDF470}" dt="2021-11-10T09:11:55.100" v="485"/>
        <pc:sldMkLst>
          <pc:docMk/>
          <pc:sldMk cId="3926821705" sldId="3700"/>
        </pc:sldMkLst>
      </pc:sldChg>
      <pc:sldChg chg="new del">
        <pc:chgData name="Eleanor Matthews" userId="1dbbd07e-8a95-40e8-8c1a-2b505657be5c" providerId="ADAL" clId="{12F888D6-2A32-4173-9E53-846016FDF470}" dt="2021-11-10T09:08:36.951" v="470" actId="47"/>
        <pc:sldMkLst>
          <pc:docMk/>
          <pc:sldMk cId="566261400" sldId="3701"/>
        </pc:sldMkLst>
      </pc:sldChg>
      <pc:sldChg chg="add">
        <pc:chgData name="Eleanor Matthews" userId="1dbbd07e-8a95-40e8-8c1a-2b505657be5c" providerId="ADAL" clId="{12F888D6-2A32-4173-9E53-846016FDF470}" dt="2021-11-10T09:12:19.890" v="487"/>
        <pc:sldMkLst>
          <pc:docMk/>
          <pc:sldMk cId="3350669711" sldId="3701"/>
        </pc:sldMkLst>
      </pc:sldChg>
      <pc:sldChg chg="add">
        <pc:chgData name="Eleanor Matthews" userId="1dbbd07e-8a95-40e8-8c1a-2b505657be5c" providerId="ADAL" clId="{12F888D6-2A32-4173-9E53-846016FDF470}" dt="2021-11-10T09:12:28.755" v="488"/>
        <pc:sldMkLst>
          <pc:docMk/>
          <pc:sldMk cId="2458160794" sldId="3702"/>
        </pc:sldMkLst>
      </pc:sldChg>
      <pc:sldMasterChg chg="delSldLayout">
        <pc:chgData name="Eleanor Matthews" userId="1dbbd07e-8a95-40e8-8c1a-2b505657be5c" providerId="ADAL" clId="{12F888D6-2A32-4173-9E53-846016FDF470}" dt="2021-11-10T09:10:11.766" v="476" actId="47"/>
        <pc:sldMasterMkLst>
          <pc:docMk/>
          <pc:sldMasterMk cId="653472604" sldId="2147483648"/>
        </pc:sldMasterMkLst>
        <pc:sldLayoutChg chg="del">
          <pc:chgData name="Eleanor Matthews" userId="1dbbd07e-8a95-40e8-8c1a-2b505657be5c" providerId="ADAL" clId="{12F888D6-2A32-4173-9E53-846016FDF470}" dt="2021-11-10T09:10:09.525" v="473" actId="47"/>
          <pc:sldLayoutMkLst>
            <pc:docMk/>
            <pc:sldMasterMk cId="653472604" sldId="2147483648"/>
            <pc:sldLayoutMk cId="3098944392" sldId="2147483661"/>
          </pc:sldLayoutMkLst>
        </pc:sldLayoutChg>
        <pc:sldLayoutChg chg="del">
          <pc:chgData name="Eleanor Matthews" userId="1dbbd07e-8a95-40e8-8c1a-2b505657be5c" providerId="ADAL" clId="{12F888D6-2A32-4173-9E53-846016FDF470}" dt="2021-11-10T09:10:11.766" v="476" actId="47"/>
          <pc:sldLayoutMkLst>
            <pc:docMk/>
            <pc:sldMasterMk cId="653472604" sldId="2147483648"/>
            <pc:sldLayoutMk cId="3571041257" sldId="2147483662"/>
          </pc:sldLayoutMkLst>
        </pc:sldLayoutChg>
      </pc:sldMasterChg>
    </pc:docChg>
  </pc:docChgLst>
  <pc:docChgLst>
    <pc:chgData name="Eleanor Matthews" userId="S::ematthews@fta.co.uk::1dbbd07e-8a95-40e8-8c1a-2b505657be5c" providerId="AD" clId="Web-{7F03FB56-822D-460D-BDD0-4CAA8E191740}"/>
    <pc:docChg chg="addSld modSld sldOrd">
      <pc:chgData name="Eleanor Matthews" userId="S::ematthews@fta.co.uk::1dbbd07e-8a95-40e8-8c1a-2b505657be5c" providerId="AD" clId="Web-{7F03FB56-822D-460D-BDD0-4CAA8E191740}" dt="2021-11-01T12:22:18.015" v="23"/>
      <pc:docMkLst>
        <pc:docMk/>
      </pc:docMkLst>
      <pc:sldChg chg="modSp">
        <pc:chgData name="Eleanor Matthews" userId="S::ematthews@fta.co.uk::1dbbd07e-8a95-40e8-8c1a-2b505657be5c" providerId="AD" clId="Web-{7F03FB56-822D-460D-BDD0-4CAA8E191740}" dt="2021-11-01T12:21:18.936" v="0" actId="1076"/>
        <pc:sldMkLst>
          <pc:docMk/>
          <pc:sldMk cId="3437424469" sldId="311"/>
        </pc:sldMkLst>
        <pc:picChg chg="mod">
          <ac:chgData name="Eleanor Matthews" userId="S::ematthews@fta.co.uk::1dbbd07e-8a95-40e8-8c1a-2b505657be5c" providerId="AD" clId="Web-{7F03FB56-822D-460D-BDD0-4CAA8E191740}" dt="2021-11-01T12:21:18.936" v="0" actId="1076"/>
          <ac:picMkLst>
            <pc:docMk/>
            <pc:sldMk cId="3437424469" sldId="311"/>
            <ac:picMk id="8" creationId="{D69BDD89-22CC-4A11-8BEF-25A23A77835F}"/>
          </ac:picMkLst>
        </pc:picChg>
      </pc:sldChg>
      <pc:sldChg chg="addSp delSp modSp add mod ord replId modClrScheme chgLayout">
        <pc:chgData name="Eleanor Matthews" userId="S::ematthews@fta.co.uk::1dbbd07e-8a95-40e8-8c1a-2b505657be5c" providerId="AD" clId="Web-{7F03FB56-822D-460D-BDD0-4CAA8E191740}" dt="2021-11-01T12:22:18.015" v="23"/>
        <pc:sldMkLst>
          <pc:docMk/>
          <pc:sldMk cId="3997802225" sldId="312"/>
        </pc:sldMkLst>
        <pc:spChg chg="mod">
          <ac:chgData name="Eleanor Matthews" userId="S::ematthews@fta.co.uk::1dbbd07e-8a95-40e8-8c1a-2b505657be5c" providerId="AD" clId="Web-{7F03FB56-822D-460D-BDD0-4CAA8E191740}" dt="2021-11-01T12:22:15.531" v="21"/>
          <ac:spMkLst>
            <pc:docMk/>
            <pc:sldMk cId="3997802225" sldId="312"/>
            <ac:spMk id="3" creationId="{E9DD304A-61F3-4DB2-88C2-3E8F8A09C34E}"/>
          </ac:spMkLst>
        </pc:spChg>
        <pc:spChg chg="del mod">
          <ac:chgData name="Eleanor Matthews" userId="S::ematthews@fta.co.uk::1dbbd07e-8a95-40e8-8c1a-2b505657be5c" providerId="AD" clId="Web-{7F03FB56-822D-460D-BDD0-4CAA8E191740}" dt="2021-11-01T12:21:40.952" v="12"/>
          <ac:spMkLst>
            <pc:docMk/>
            <pc:sldMk cId="3997802225" sldId="312"/>
            <ac:spMk id="4" creationId="{EF4EDADE-B7B7-43CA-A641-15699E282252}"/>
          </ac:spMkLst>
        </pc:spChg>
        <pc:spChg chg="del">
          <ac:chgData name="Eleanor Matthews" userId="S::ematthews@fta.co.uk::1dbbd07e-8a95-40e8-8c1a-2b505657be5c" providerId="AD" clId="Web-{7F03FB56-822D-460D-BDD0-4CAA8E191740}" dt="2021-11-01T12:21:32.420" v="8"/>
          <ac:spMkLst>
            <pc:docMk/>
            <pc:sldMk cId="3997802225" sldId="312"/>
            <ac:spMk id="5" creationId="{FDAE7D02-476A-6B4B-8043-17B915F42962}"/>
          </ac:spMkLst>
        </pc:spChg>
        <pc:spChg chg="add del mod">
          <ac:chgData name="Eleanor Matthews" userId="S::ematthews@fta.co.uk::1dbbd07e-8a95-40e8-8c1a-2b505657be5c" providerId="AD" clId="Web-{7F03FB56-822D-460D-BDD0-4CAA8E191740}" dt="2021-11-01T12:21:37.389" v="10"/>
          <ac:spMkLst>
            <pc:docMk/>
            <pc:sldMk cId="3997802225" sldId="312"/>
            <ac:spMk id="7" creationId="{DB275264-B3AF-438E-8F8F-040936F7582D}"/>
          </ac:spMkLst>
        </pc:spChg>
        <pc:spChg chg="add del mod">
          <ac:chgData name="Eleanor Matthews" userId="S::ematthews@fta.co.uk::1dbbd07e-8a95-40e8-8c1a-2b505657be5c" providerId="AD" clId="Web-{7F03FB56-822D-460D-BDD0-4CAA8E191740}" dt="2021-11-01T12:21:40.952" v="11"/>
          <ac:spMkLst>
            <pc:docMk/>
            <pc:sldMk cId="3997802225" sldId="312"/>
            <ac:spMk id="9" creationId="{B2447853-9EAB-40AA-B048-4406D7A23FA4}"/>
          </ac:spMkLst>
        </pc:spChg>
        <pc:spChg chg="add del mod">
          <ac:chgData name="Eleanor Matthews" userId="S::ematthews@fta.co.uk::1dbbd07e-8a95-40e8-8c1a-2b505657be5c" providerId="AD" clId="Web-{7F03FB56-822D-460D-BDD0-4CAA8E191740}" dt="2021-11-01T12:22:13.375" v="20"/>
          <ac:spMkLst>
            <pc:docMk/>
            <pc:sldMk cId="3997802225" sldId="312"/>
            <ac:spMk id="12" creationId="{3C35143F-5596-4DBD-BEE3-5AD72E2182E0}"/>
          </ac:spMkLst>
        </pc:spChg>
        <pc:spChg chg="add mod">
          <ac:chgData name="Eleanor Matthews" userId="S::ematthews@fta.co.uk::1dbbd07e-8a95-40e8-8c1a-2b505657be5c" providerId="AD" clId="Web-{7F03FB56-822D-460D-BDD0-4CAA8E191740}" dt="2021-11-01T12:22:18.015" v="23"/>
          <ac:spMkLst>
            <pc:docMk/>
            <pc:sldMk cId="3997802225" sldId="312"/>
            <ac:spMk id="13" creationId="{EA0F2A5C-26AB-4B45-8E14-FFC3F025F66E}"/>
          </ac:spMkLst>
        </pc:spChg>
        <pc:picChg chg="del">
          <ac:chgData name="Eleanor Matthews" userId="S::ematthews@fta.co.uk::1dbbd07e-8a95-40e8-8c1a-2b505657be5c" providerId="AD" clId="Web-{7F03FB56-822D-460D-BDD0-4CAA8E191740}" dt="2021-11-01T12:21:30.264" v="7"/>
          <ac:picMkLst>
            <pc:docMk/>
            <pc:sldMk cId="3997802225" sldId="312"/>
            <ac:picMk id="2" creationId="{65AFDFDD-76E7-4F92-924A-F6799A22A430}"/>
          </ac:picMkLst>
        </pc:picChg>
        <pc:picChg chg="add mod">
          <ac:chgData name="Eleanor Matthews" userId="S::ematthews@fta.co.uk::1dbbd07e-8a95-40e8-8c1a-2b505657be5c" providerId="AD" clId="Web-{7F03FB56-822D-460D-BDD0-4CAA8E191740}" dt="2021-11-01T12:22:15.531" v="21"/>
          <ac:picMkLst>
            <pc:docMk/>
            <pc:sldMk cId="3997802225" sldId="312"/>
            <ac:picMk id="11" creationId="{B5D5EC74-12E5-4EDA-9021-8FED4B8407DB}"/>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cap="all" spc="50" baseline="0">
                <a:solidFill>
                  <a:schemeClr val="tx1">
                    <a:lumMod val="65000"/>
                    <a:lumOff val="35000"/>
                  </a:schemeClr>
                </a:solidFill>
                <a:latin typeface="+mn-lt"/>
                <a:ea typeface="+mn-ea"/>
                <a:cs typeface="+mn-cs"/>
              </a:defRPr>
            </a:pPr>
            <a:r>
              <a:rPr lang="en-US" dirty="0"/>
              <a:t>Life Cycle GHG</a:t>
            </a:r>
          </a:p>
        </c:rich>
      </c:tx>
      <c:overlay val="0"/>
      <c:spPr>
        <a:noFill/>
        <a:ln>
          <a:noFill/>
        </a:ln>
        <a:effectLst/>
      </c:spPr>
      <c:txPr>
        <a:bodyPr rot="0" spcFirstLastPara="1" vertOverflow="ellipsis" vert="horz" wrap="square" anchor="ctr" anchorCtr="1"/>
        <a:lstStyle/>
        <a:p>
          <a:pPr>
            <a:defRPr sz="1862" b="1" i="0" u="none" strike="noStrike" kern="1200" cap="all" spc="5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Tonne CO2e</c:v>
                </c:pt>
              </c:strCache>
            </c:strRef>
          </c:tx>
          <c:dPt>
            <c:idx val="0"/>
            <c:bubble3D val="0"/>
            <c:spPr>
              <a:solidFill>
                <a:schemeClr val="accent6"/>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2-DCD0-4B22-ACC9-0FCCAA751CBA}"/>
              </c:ext>
            </c:extLst>
          </c:dPt>
          <c:dPt>
            <c:idx val="1"/>
            <c:bubble3D val="0"/>
            <c:spPr>
              <a:solidFill>
                <a:schemeClr val="accent5"/>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64A0-490C-A3C3-2185F8DC13A8}"/>
              </c:ext>
            </c:extLst>
          </c:dPt>
          <c:dPt>
            <c:idx val="2"/>
            <c:bubble3D val="0"/>
            <c:spPr>
              <a:solidFill>
                <a:schemeClr val="accent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64A0-490C-A3C3-2185F8DC13A8}"/>
              </c:ext>
            </c:extLst>
          </c:dPt>
          <c:dPt>
            <c:idx val="3"/>
            <c:bubble3D val="0"/>
            <c:spPr>
              <a:solidFill>
                <a:schemeClr val="accent6">
                  <a:lumMod val="60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64A0-490C-A3C3-2185F8DC13A8}"/>
              </c:ext>
            </c:extLst>
          </c:dPt>
          <c:dLbls>
            <c:dLbl>
              <c:idx val="0"/>
              <c:layout>
                <c:manualLayout>
                  <c:x val="-1.9686752249489885E-2"/>
                  <c:y val="0.1368722451621458"/>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2-DCD0-4B22-ACC9-0FCCAA751CBA}"/>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in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Vehicle production</c:v>
                </c:pt>
                <c:pt idx="1">
                  <c:v>Fuel production</c:v>
                </c:pt>
                <c:pt idx="2">
                  <c:v>Fuel use</c:v>
                </c:pt>
                <c:pt idx="3">
                  <c:v>End of Life</c:v>
                </c:pt>
              </c:strCache>
            </c:strRef>
          </c:cat>
          <c:val>
            <c:numRef>
              <c:f>Sheet1!$B$2:$B$5</c:f>
              <c:numCache>
                <c:formatCode>General</c:formatCode>
                <c:ptCount val="4"/>
                <c:pt idx="0">
                  <c:v>59.7</c:v>
                </c:pt>
                <c:pt idx="1">
                  <c:v>292.89999999999998</c:v>
                </c:pt>
                <c:pt idx="2">
                  <c:v>1222.0999999999999</c:v>
                </c:pt>
                <c:pt idx="3">
                  <c:v>6</c:v>
                </c:pt>
              </c:numCache>
            </c:numRef>
          </c:val>
          <c:extLst>
            <c:ext xmlns:c16="http://schemas.microsoft.com/office/drawing/2014/chart" uri="{C3380CC4-5D6E-409C-BE32-E72D297353CC}">
              <c16:uniqueId val="{00000000-DCD0-4B22-ACC9-0FCCAA751CBA}"/>
            </c:ext>
          </c:extLst>
        </c:ser>
        <c:dLbls>
          <c:dLblPos val="inEnd"/>
          <c:showLegendKey val="0"/>
          <c:showVal val="0"/>
          <c:showCatName val="0"/>
          <c:showSerName val="0"/>
          <c:showPercent val="1"/>
          <c:showBubbleSize val="0"/>
          <c:showLeaderLines val="1"/>
        </c:dLbls>
        <c:firstSliceAng val="0"/>
      </c:pieChart>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623FD0A-C97A-48E9-B2FE-12F5DF3315B2}" type="datetimeFigureOut">
              <a:rPr lang="en-GB" smtClean="0"/>
              <a:t>10/11/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D37E5E6-6AEB-4AC4-A8E4-54AD299BDC91}" type="slidenum">
              <a:rPr lang="en-GB" smtClean="0"/>
              <a:t>‹#›</a:t>
            </a:fld>
            <a:endParaRPr lang="en-GB"/>
          </a:p>
        </p:txBody>
      </p:sp>
    </p:spTree>
    <p:extLst>
      <p:ext uri="{BB962C8B-B14F-4D97-AF65-F5344CB8AC3E}">
        <p14:creationId xmlns:p14="http://schemas.microsoft.com/office/powerpoint/2010/main" val="7416337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D37E5E6-6AEB-4AC4-A8E4-54AD299BDC91}" type="slidenum">
              <a:rPr lang="en-GB" smtClean="0"/>
              <a:t>6</a:t>
            </a:fld>
            <a:endParaRPr lang="en-GB"/>
          </a:p>
        </p:txBody>
      </p:sp>
    </p:spTree>
    <p:extLst>
      <p:ext uri="{BB962C8B-B14F-4D97-AF65-F5344CB8AC3E}">
        <p14:creationId xmlns:p14="http://schemas.microsoft.com/office/powerpoint/2010/main" val="34820503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D37E5E6-6AEB-4AC4-A8E4-54AD299BDC91}" type="slidenum">
              <a:rPr lang="en-GB" smtClean="0"/>
              <a:t>7</a:t>
            </a:fld>
            <a:endParaRPr lang="en-GB"/>
          </a:p>
        </p:txBody>
      </p:sp>
    </p:spTree>
    <p:extLst>
      <p:ext uri="{BB962C8B-B14F-4D97-AF65-F5344CB8AC3E}">
        <p14:creationId xmlns:p14="http://schemas.microsoft.com/office/powerpoint/2010/main" val="26127196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effectLst/>
            </a:endParaRPr>
          </a:p>
        </p:txBody>
      </p:sp>
      <p:sp>
        <p:nvSpPr>
          <p:cNvPr id="4" name="Slide Number Placeholder 3"/>
          <p:cNvSpPr>
            <a:spLocks noGrp="1"/>
          </p:cNvSpPr>
          <p:nvPr>
            <p:ph type="sldNum" sz="quarter" idx="10"/>
          </p:nvPr>
        </p:nvSpPr>
        <p:spPr/>
        <p:txBody>
          <a:bodyPr/>
          <a:lstStyle/>
          <a:p>
            <a:pPr>
              <a:defRPr/>
            </a:pPr>
            <a:fld id="{AD275F2D-3CDF-4D47-B99A-4E70FC8B7F77}" type="slidenum">
              <a:rPr lang="en-GB" smtClean="0"/>
              <a:pPr>
                <a:defRPr/>
              </a:pPr>
              <a:t>19</a:t>
            </a:fld>
            <a:endParaRPr lang="en-GB"/>
          </a:p>
        </p:txBody>
      </p:sp>
    </p:spTree>
    <p:extLst>
      <p:ext uri="{BB962C8B-B14F-4D97-AF65-F5344CB8AC3E}">
        <p14:creationId xmlns:p14="http://schemas.microsoft.com/office/powerpoint/2010/main" val="39624630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3DAFAEC-97A6-41F0-BE86-2FF4BE6C0E17}" type="slidenum">
              <a:rPr lang="en-GB" smtClean="0"/>
              <a:t>20</a:t>
            </a:fld>
            <a:endParaRPr lang="en-GB"/>
          </a:p>
        </p:txBody>
      </p:sp>
    </p:spTree>
    <p:extLst>
      <p:ext uri="{BB962C8B-B14F-4D97-AF65-F5344CB8AC3E}">
        <p14:creationId xmlns:p14="http://schemas.microsoft.com/office/powerpoint/2010/main" val="15072570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3789" y="5120363"/>
            <a:ext cx="5692884" cy="5273248"/>
          </a:xfrm>
        </p:spPr>
        <p:txBody>
          <a:bodyPr/>
          <a:lstStyle/>
          <a:p>
            <a:endParaRPr lang="en-GB">
              <a:cs typeface="Calibri"/>
            </a:endParaRPr>
          </a:p>
        </p:txBody>
      </p:sp>
      <p:sp>
        <p:nvSpPr>
          <p:cNvPr id="4" name="Slide Number Placeholder 3"/>
          <p:cNvSpPr>
            <a:spLocks noGrp="1"/>
          </p:cNvSpPr>
          <p:nvPr>
            <p:ph type="sldNum" sz="quarter" idx="10"/>
          </p:nvPr>
        </p:nvSpPr>
        <p:spPr/>
        <p:txBody>
          <a:bodyPr/>
          <a:lstStyle/>
          <a:p>
            <a:pPr>
              <a:defRPr/>
            </a:pPr>
            <a:fld id="{75DEE7A8-5815-4BB6-8A3D-DDFAFACB8B8E}" type="slidenum">
              <a:rPr lang="en-US" smtClean="0">
                <a:solidFill>
                  <a:prstClr val="black"/>
                </a:solidFill>
              </a:rPr>
              <a:pPr>
                <a:defRPr/>
              </a:pPr>
              <a:t>21</a:t>
            </a:fld>
            <a:endParaRPr lang="en-US">
              <a:solidFill>
                <a:prstClr val="black"/>
              </a:solidFill>
            </a:endParaRPr>
          </a:p>
        </p:txBody>
      </p:sp>
    </p:spTree>
    <p:extLst>
      <p:ext uri="{BB962C8B-B14F-4D97-AF65-F5344CB8AC3E}">
        <p14:creationId xmlns:p14="http://schemas.microsoft.com/office/powerpoint/2010/main" val="42731572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3789" y="5120363"/>
            <a:ext cx="5692884" cy="5273248"/>
          </a:xfrm>
        </p:spPr>
        <p:txBody>
          <a:bodyPr/>
          <a:lstStyle/>
          <a:p>
            <a:endParaRPr lang="en-GB">
              <a:cs typeface="Calibri"/>
            </a:endParaRPr>
          </a:p>
        </p:txBody>
      </p:sp>
      <p:sp>
        <p:nvSpPr>
          <p:cNvPr id="4" name="Slide Number Placeholder 3"/>
          <p:cNvSpPr>
            <a:spLocks noGrp="1"/>
          </p:cNvSpPr>
          <p:nvPr>
            <p:ph type="sldNum" sz="quarter" idx="10"/>
          </p:nvPr>
        </p:nvSpPr>
        <p:spPr/>
        <p:txBody>
          <a:bodyPr/>
          <a:lstStyle/>
          <a:p>
            <a:pPr>
              <a:defRPr/>
            </a:pPr>
            <a:fld id="{75DEE7A8-5815-4BB6-8A3D-DDFAFACB8B8E}" type="slidenum">
              <a:rPr lang="en-US" smtClean="0">
                <a:solidFill>
                  <a:prstClr val="black"/>
                </a:solidFill>
              </a:rPr>
              <a:pPr>
                <a:defRPr/>
              </a:pPr>
              <a:t>22</a:t>
            </a:fld>
            <a:endParaRPr lang="en-US">
              <a:solidFill>
                <a:prstClr val="black"/>
              </a:solidFill>
            </a:endParaRPr>
          </a:p>
        </p:txBody>
      </p:sp>
    </p:spTree>
    <p:extLst>
      <p:ext uri="{BB962C8B-B14F-4D97-AF65-F5344CB8AC3E}">
        <p14:creationId xmlns:p14="http://schemas.microsoft.com/office/powerpoint/2010/main" val="5989205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3789" y="5120363"/>
            <a:ext cx="5692884" cy="5273248"/>
          </a:xfrm>
        </p:spPr>
        <p:txBody>
          <a:bodyPr/>
          <a:lstStyle/>
          <a:p>
            <a:endParaRPr lang="en-GB" b="1">
              <a:effectLst/>
            </a:endParaRPr>
          </a:p>
        </p:txBody>
      </p:sp>
      <p:sp>
        <p:nvSpPr>
          <p:cNvPr id="4" name="Slide Number Placeholder 3"/>
          <p:cNvSpPr>
            <a:spLocks noGrp="1"/>
          </p:cNvSpPr>
          <p:nvPr>
            <p:ph type="sldNum" sz="quarter" idx="10"/>
          </p:nvPr>
        </p:nvSpPr>
        <p:spPr/>
        <p:txBody>
          <a:bodyPr/>
          <a:lstStyle/>
          <a:p>
            <a:pPr>
              <a:defRPr/>
            </a:pPr>
            <a:fld id="{75DEE7A8-5815-4BB6-8A3D-DDFAFACB8B8E}" type="slidenum">
              <a:rPr lang="en-US" smtClean="0">
                <a:solidFill>
                  <a:prstClr val="black"/>
                </a:solidFill>
              </a:rPr>
              <a:pPr>
                <a:defRPr/>
              </a:pPr>
              <a:t>23</a:t>
            </a:fld>
            <a:endParaRPr lang="en-US">
              <a:solidFill>
                <a:prstClr val="black"/>
              </a:solidFill>
            </a:endParaRPr>
          </a:p>
        </p:txBody>
      </p:sp>
    </p:spTree>
    <p:extLst>
      <p:ext uri="{BB962C8B-B14F-4D97-AF65-F5344CB8AC3E}">
        <p14:creationId xmlns:p14="http://schemas.microsoft.com/office/powerpoint/2010/main" val="19498862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3789" y="5120363"/>
            <a:ext cx="5692884" cy="527324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75DEE7A8-5815-4BB6-8A3D-DDFAFACB8B8E}" type="slidenum">
              <a:rPr lang="en-US" smtClean="0">
                <a:solidFill>
                  <a:prstClr val="black"/>
                </a:solidFill>
              </a:rPr>
              <a:pPr>
                <a:defRPr/>
              </a:pPr>
              <a:t>24</a:t>
            </a:fld>
            <a:endParaRPr lang="en-US">
              <a:solidFill>
                <a:prstClr val="black"/>
              </a:solidFill>
            </a:endParaRPr>
          </a:p>
        </p:txBody>
      </p:sp>
    </p:spTree>
    <p:extLst>
      <p:ext uri="{BB962C8B-B14F-4D97-AF65-F5344CB8AC3E}">
        <p14:creationId xmlns:p14="http://schemas.microsoft.com/office/powerpoint/2010/main" val="19498862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D37E5E6-6AEB-4AC4-A8E4-54AD299BDC91}" type="slidenum">
              <a:rPr lang="en-GB" smtClean="0"/>
              <a:t>37</a:t>
            </a:fld>
            <a:endParaRPr lang="en-GB"/>
          </a:p>
        </p:txBody>
      </p:sp>
    </p:spTree>
    <p:extLst>
      <p:ext uri="{BB962C8B-B14F-4D97-AF65-F5344CB8AC3E}">
        <p14:creationId xmlns:p14="http://schemas.microsoft.com/office/powerpoint/2010/main" val="10996473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hyperlink" Target="mailto:hello@zemo.org.uk" TargetMode="External"/><Relationship Id="rId2" Type="http://schemas.openxmlformats.org/officeDocument/2006/relationships/image" Target="../media/image19.png"/><Relationship Id="rId1" Type="http://schemas.openxmlformats.org/officeDocument/2006/relationships/slideMaster" Target="../slideMasters/slideMaster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hyperlink" Target="http://www.zemo.org.uk/" TargetMode="External"/></Relationships>
</file>

<file path=ppt/slideLayouts/_rels/slideLayout27.xml.rels><?xml version="1.0" encoding="UTF-8" standalone="yes"?>
<Relationships xmlns="http://schemas.openxmlformats.org/package/2006/relationships"><Relationship Id="rId3" Type="http://schemas.openxmlformats.org/officeDocument/2006/relationships/hyperlink" Target="mailto:hello@zemo.org.uk" TargetMode="External"/><Relationship Id="rId2" Type="http://schemas.openxmlformats.org/officeDocument/2006/relationships/image" Target="../media/image22.png"/><Relationship Id="rId1" Type="http://schemas.openxmlformats.org/officeDocument/2006/relationships/slideMaster" Target="../slideMasters/slideMaster2.xml"/><Relationship Id="rId6" Type="http://schemas.openxmlformats.org/officeDocument/2006/relationships/image" Target="../media/image21.png"/><Relationship Id="rId5" Type="http://schemas.openxmlformats.org/officeDocument/2006/relationships/image" Target="../media/image7.png"/><Relationship Id="rId4" Type="http://schemas.openxmlformats.org/officeDocument/2006/relationships/hyperlink" Target="http://www.zemo.org.uk/" TargetMode="Externa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hyperlink" Target="mailto:hello@zemo.org.uk" TargetMode="External"/><Relationship Id="rId2" Type="http://schemas.openxmlformats.org/officeDocument/2006/relationships/image" Target="../media/image19.png"/><Relationship Id="rId1" Type="http://schemas.openxmlformats.org/officeDocument/2006/relationships/slideMaster" Target="../slideMasters/slideMaster3.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hyperlink" Target="http://www.zemo.org.uk/" TargetMode="External"/></Relationships>
</file>

<file path=ppt/slideLayouts/_rels/slideLayout47.xml.rels><?xml version="1.0" encoding="UTF-8" standalone="yes"?>
<Relationships xmlns="http://schemas.openxmlformats.org/package/2006/relationships"><Relationship Id="rId3" Type="http://schemas.openxmlformats.org/officeDocument/2006/relationships/hyperlink" Target="mailto:hello@zemo.org.uk" TargetMode="External"/><Relationship Id="rId2" Type="http://schemas.openxmlformats.org/officeDocument/2006/relationships/image" Target="../media/image22.png"/><Relationship Id="rId1" Type="http://schemas.openxmlformats.org/officeDocument/2006/relationships/slideMaster" Target="../slideMasters/slideMaster3.xml"/><Relationship Id="rId6" Type="http://schemas.openxmlformats.org/officeDocument/2006/relationships/image" Target="../media/image21.png"/><Relationship Id="rId5" Type="http://schemas.openxmlformats.org/officeDocument/2006/relationships/image" Target="../media/image7.png"/><Relationship Id="rId4" Type="http://schemas.openxmlformats.org/officeDocument/2006/relationships/hyperlink" Target="http://www.zemo.org.uk/" TargetMode="Externa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hyperlink" Target="mailto:hello@zemo.org.uk" TargetMode="External"/><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hyperlink" Target="http://www.zemo.org.uk/" TargetMode="External"/></Relationships>
</file>

<file path=ppt/slideLayouts/_rels/slideLayout65.xml.rels><?xml version="1.0" encoding="UTF-8" standalone="yes"?>
<Relationships xmlns="http://schemas.openxmlformats.org/package/2006/relationships"><Relationship Id="rId3" Type="http://schemas.openxmlformats.org/officeDocument/2006/relationships/hyperlink" Target="mailto:hello@zemo.org.uk" TargetMode="External"/><Relationship Id="rId2" Type="http://schemas.openxmlformats.org/officeDocument/2006/relationships/image" Target="../media/image22.pn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7.png"/><Relationship Id="rId4" Type="http://schemas.openxmlformats.org/officeDocument/2006/relationships/hyperlink" Target="http://www.zemo.org.uk/" TargetMode="Externa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grpSp>
        <p:nvGrpSpPr>
          <p:cNvPr id="33" name="Group 4">
            <a:extLst>
              <a:ext uri="{FF2B5EF4-FFF2-40B4-BE49-F238E27FC236}">
                <a16:creationId xmlns:a16="http://schemas.microsoft.com/office/drawing/2014/main" id="{8196D64F-9C14-4C5A-BC40-D6EFA8D81599}"/>
              </a:ext>
            </a:extLst>
          </p:cNvPr>
          <p:cNvGrpSpPr>
            <a:grpSpLocks noChangeAspect="1"/>
          </p:cNvGrpSpPr>
          <p:nvPr userDrawn="1"/>
        </p:nvGrpSpPr>
        <p:grpSpPr bwMode="auto">
          <a:xfrm>
            <a:off x="4370389" y="0"/>
            <a:ext cx="649288" cy="6859588"/>
            <a:chOff x="1377" y="5"/>
            <a:chExt cx="409" cy="4321"/>
          </a:xfrm>
          <a:solidFill>
            <a:schemeClr val="bg1"/>
          </a:solidFill>
        </p:grpSpPr>
        <p:sp>
          <p:nvSpPr>
            <p:cNvPr id="35" name="Freeform 6">
              <a:extLst>
                <a:ext uri="{FF2B5EF4-FFF2-40B4-BE49-F238E27FC236}">
                  <a16:creationId xmlns:a16="http://schemas.microsoft.com/office/drawing/2014/main" id="{260CF6B4-3091-4E05-9017-141C5CAE362A}"/>
                </a:ext>
              </a:extLst>
            </p:cNvPr>
            <p:cNvSpPr>
              <a:spLocks/>
            </p:cNvSpPr>
            <p:nvPr/>
          </p:nvSpPr>
          <p:spPr bwMode="auto">
            <a:xfrm>
              <a:off x="1587" y="3969"/>
              <a:ext cx="168" cy="86"/>
            </a:xfrm>
            <a:custGeom>
              <a:avLst/>
              <a:gdLst>
                <a:gd name="T0" fmla="*/ 0 w 280"/>
                <a:gd name="T1" fmla="*/ 111 h 143"/>
                <a:gd name="T2" fmla="*/ 0 w 280"/>
                <a:gd name="T3" fmla="*/ 111 h 143"/>
                <a:gd name="T4" fmla="*/ 280 w 280"/>
                <a:gd name="T5" fmla="*/ 143 h 143"/>
                <a:gd name="T6" fmla="*/ 280 w 280"/>
                <a:gd name="T7" fmla="*/ 142 h 143"/>
                <a:gd name="T8" fmla="*/ 269 w 280"/>
                <a:gd name="T9" fmla="*/ 30 h 143"/>
                <a:gd name="T10" fmla="*/ 269 w 280"/>
                <a:gd name="T11" fmla="*/ 30 h 143"/>
                <a:gd name="T12" fmla="*/ 0 w 280"/>
                <a:gd name="T13" fmla="*/ 0 h 143"/>
                <a:gd name="T14" fmla="*/ 0 w 280"/>
                <a:gd name="T15" fmla="*/ 111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0" h="143">
                  <a:moveTo>
                    <a:pt x="0" y="111"/>
                  </a:moveTo>
                  <a:lnTo>
                    <a:pt x="0" y="111"/>
                  </a:lnTo>
                  <a:cubicBezTo>
                    <a:pt x="97" y="111"/>
                    <a:pt x="192" y="122"/>
                    <a:pt x="280" y="143"/>
                  </a:cubicBezTo>
                  <a:lnTo>
                    <a:pt x="280" y="142"/>
                  </a:lnTo>
                  <a:lnTo>
                    <a:pt x="269" y="30"/>
                  </a:lnTo>
                  <a:lnTo>
                    <a:pt x="269" y="30"/>
                  </a:lnTo>
                  <a:cubicBezTo>
                    <a:pt x="185" y="11"/>
                    <a:pt x="93" y="1"/>
                    <a:pt x="0" y="0"/>
                  </a:cubicBezTo>
                  <a:lnTo>
                    <a:pt x="0" y="11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6" name="Freeform 7">
              <a:extLst>
                <a:ext uri="{FF2B5EF4-FFF2-40B4-BE49-F238E27FC236}">
                  <a16:creationId xmlns:a16="http://schemas.microsoft.com/office/drawing/2014/main" id="{C60F9FA3-2627-4D16-9D02-5344635F7738}"/>
                </a:ext>
              </a:extLst>
            </p:cNvPr>
            <p:cNvSpPr>
              <a:spLocks/>
            </p:cNvSpPr>
            <p:nvPr/>
          </p:nvSpPr>
          <p:spPr bwMode="auto">
            <a:xfrm>
              <a:off x="1587" y="3837"/>
              <a:ext cx="155" cy="83"/>
            </a:xfrm>
            <a:custGeom>
              <a:avLst/>
              <a:gdLst>
                <a:gd name="T0" fmla="*/ 0 w 259"/>
                <a:gd name="T1" fmla="*/ 110 h 138"/>
                <a:gd name="T2" fmla="*/ 0 w 259"/>
                <a:gd name="T3" fmla="*/ 110 h 138"/>
                <a:gd name="T4" fmla="*/ 259 w 259"/>
                <a:gd name="T5" fmla="*/ 138 h 138"/>
                <a:gd name="T6" fmla="*/ 259 w 259"/>
                <a:gd name="T7" fmla="*/ 138 h 138"/>
                <a:gd name="T8" fmla="*/ 248 w 259"/>
                <a:gd name="T9" fmla="*/ 25 h 138"/>
                <a:gd name="T10" fmla="*/ 248 w 259"/>
                <a:gd name="T11" fmla="*/ 25 h 138"/>
                <a:gd name="T12" fmla="*/ 0 w 259"/>
                <a:gd name="T13" fmla="*/ 0 h 138"/>
                <a:gd name="T14" fmla="*/ 0 w 259"/>
                <a:gd name="T15" fmla="*/ 110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 h="138">
                  <a:moveTo>
                    <a:pt x="0" y="110"/>
                  </a:moveTo>
                  <a:lnTo>
                    <a:pt x="0" y="110"/>
                  </a:lnTo>
                  <a:cubicBezTo>
                    <a:pt x="89" y="111"/>
                    <a:pt x="177" y="120"/>
                    <a:pt x="259" y="138"/>
                  </a:cubicBezTo>
                  <a:lnTo>
                    <a:pt x="259" y="138"/>
                  </a:lnTo>
                  <a:lnTo>
                    <a:pt x="248" y="25"/>
                  </a:lnTo>
                  <a:lnTo>
                    <a:pt x="248" y="25"/>
                  </a:lnTo>
                  <a:cubicBezTo>
                    <a:pt x="170" y="9"/>
                    <a:pt x="85" y="1"/>
                    <a:pt x="0" y="0"/>
                  </a:cubicBezTo>
                  <a:lnTo>
                    <a:pt x="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7" name="Freeform 8">
              <a:extLst>
                <a:ext uri="{FF2B5EF4-FFF2-40B4-BE49-F238E27FC236}">
                  <a16:creationId xmlns:a16="http://schemas.microsoft.com/office/drawing/2014/main" id="{C12FB8B2-4DAD-41DD-B31B-658CF3C5CF62}"/>
                </a:ext>
              </a:extLst>
            </p:cNvPr>
            <p:cNvSpPr>
              <a:spLocks/>
            </p:cNvSpPr>
            <p:nvPr/>
          </p:nvSpPr>
          <p:spPr bwMode="auto">
            <a:xfrm>
              <a:off x="1587" y="3705"/>
              <a:ext cx="143" cy="80"/>
            </a:xfrm>
            <a:custGeom>
              <a:avLst/>
              <a:gdLst>
                <a:gd name="T0" fmla="*/ 0 w 238"/>
                <a:gd name="T1" fmla="*/ 110 h 133"/>
                <a:gd name="T2" fmla="*/ 0 w 238"/>
                <a:gd name="T3" fmla="*/ 110 h 133"/>
                <a:gd name="T4" fmla="*/ 238 w 238"/>
                <a:gd name="T5" fmla="*/ 133 h 133"/>
                <a:gd name="T6" fmla="*/ 238 w 238"/>
                <a:gd name="T7" fmla="*/ 133 h 133"/>
                <a:gd name="T8" fmla="*/ 228 w 238"/>
                <a:gd name="T9" fmla="*/ 21 h 133"/>
                <a:gd name="T10" fmla="*/ 228 w 238"/>
                <a:gd name="T11" fmla="*/ 21 h 133"/>
                <a:gd name="T12" fmla="*/ 0 w 238"/>
                <a:gd name="T13" fmla="*/ 0 h 133"/>
                <a:gd name="T14" fmla="*/ 0 w 238"/>
                <a:gd name="T15" fmla="*/ 110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8" h="133">
                  <a:moveTo>
                    <a:pt x="0" y="110"/>
                  </a:moveTo>
                  <a:lnTo>
                    <a:pt x="0" y="110"/>
                  </a:lnTo>
                  <a:cubicBezTo>
                    <a:pt x="82" y="111"/>
                    <a:pt x="162" y="119"/>
                    <a:pt x="238" y="133"/>
                  </a:cubicBezTo>
                  <a:lnTo>
                    <a:pt x="238" y="133"/>
                  </a:lnTo>
                  <a:lnTo>
                    <a:pt x="228" y="21"/>
                  </a:lnTo>
                  <a:lnTo>
                    <a:pt x="228" y="21"/>
                  </a:lnTo>
                  <a:cubicBezTo>
                    <a:pt x="155" y="8"/>
                    <a:pt x="78" y="1"/>
                    <a:pt x="0" y="0"/>
                  </a:cubicBezTo>
                  <a:lnTo>
                    <a:pt x="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8" name="Freeform 9">
              <a:extLst>
                <a:ext uri="{FF2B5EF4-FFF2-40B4-BE49-F238E27FC236}">
                  <a16:creationId xmlns:a16="http://schemas.microsoft.com/office/drawing/2014/main" id="{E88E9B58-81CA-4DBC-96BE-A042C55984F5}"/>
                </a:ext>
              </a:extLst>
            </p:cNvPr>
            <p:cNvSpPr>
              <a:spLocks/>
            </p:cNvSpPr>
            <p:nvPr/>
          </p:nvSpPr>
          <p:spPr bwMode="auto">
            <a:xfrm>
              <a:off x="1587" y="4234"/>
              <a:ext cx="193" cy="92"/>
            </a:xfrm>
            <a:custGeom>
              <a:avLst/>
              <a:gdLst>
                <a:gd name="T0" fmla="*/ 0 w 322"/>
                <a:gd name="T1" fmla="*/ 110 h 153"/>
                <a:gd name="T2" fmla="*/ 0 w 322"/>
                <a:gd name="T3" fmla="*/ 110 h 153"/>
                <a:gd name="T4" fmla="*/ 322 w 322"/>
                <a:gd name="T5" fmla="*/ 153 h 153"/>
                <a:gd name="T6" fmla="*/ 322 w 322"/>
                <a:gd name="T7" fmla="*/ 152 h 153"/>
                <a:gd name="T8" fmla="*/ 311 w 322"/>
                <a:gd name="T9" fmla="*/ 40 h 153"/>
                <a:gd name="T10" fmla="*/ 311 w 322"/>
                <a:gd name="T11" fmla="*/ 40 h 153"/>
                <a:gd name="T12" fmla="*/ 0 w 322"/>
                <a:gd name="T13" fmla="*/ 0 h 153"/>
                <a:gd name="T14" fmla="*/ 0 w 322"/>
                <a:gd name="T15" fmla="*/ 110 h 1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 h="153">
                  <a:moveTo>
                    <a:pt x="0" y="110"/>
                  </a:moveTo>
                  <a:lnTo>
                    <a:pt x="0" y="110"/>
                  </a:lnTo>
                  <a:cubicBezTo>
                    <a:pt x="112" y="111"/>
                    <a:pt x="223" y="125"/>
                    <a:pt x="322" y="153"/>
                  </a:cubicBezTo>
                  <a:lnTo>
                    <a:pt x="322" y="152"/>
                  </a:lnTo>
                  <a:lnTo>
                    <a:pt x="311" y="40"/>
                  </a:lnTo>
                  <a:lnTo>
                    <a:pt x="311" y="40"/>
                  </a:lnTo>
                  <a:cubicBezTo>
                    <a:pt x="215" y="14"/>
                    <a:pt x="108" y="0"/>
                    <a:pt x="0" y="0"/>
                  </a:cubicBezTo>
                  <a:lnTo>
                    <a:pt x="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9" name="Freeform 10">
              <a:extLst>
                <a:ext uri="{FF2B5EF4-FFF2-40B4-BE49-F238E27FC236}">
                  <a16:creationId xmlns:a16="http://schemas.microsoft.com/office/drawing/2014/main" id="{D0918644-84C1-4A86-B208-569E691BF867}"/>
                </a:ext>
              </a:extLst>
            </p:cNvPr>
            <p:cNvSpPr>
              <a:spLocks/>
            </p:cNvSpPr>
            <p:nvPr/>
          </p:nvSpPr>
          <p:spPr bwMode="auto">
            <a:xfrm>
              <a:off x="1587" y="4102"/>
              <a:ext cx="180" cy="88"/>
            </a:xfrm>
            <a:custGeom>
              <a:avLst/>
              <a:gdLst>
                <a:gd name="T0" fmla="*/ 0 w 301"/>
                <a:gd name="T1" fmla="*/ 110 h 147"/>
                <a:gd name="T2" fmla="*/ 0 w 301"/>
                <a:gd name="T3" fmla="*/ 110 h 147"/>
                <a:gd name="T4" fmla="*/ 301 w 301"/>
                <a:gd name="T5" fmla="*/ 147 h 147"/>
                <a:gd name="T6" fmla="*/ 301 w 301"/>
                <a:gd name="T7" fmla="*/ 147 h 147"/>
                <a:gd name="T8" fmla="*/ 290 w 301"/>
                <a:gd name="T9" fmla="*/ 34 h 147"/>
                <a:gd name="T10" fmla="*/ 290 w 301"/>
                <a:gd name="T11" fmla="*/ 34 h 147"/>
                <a:gd name="T12" fmla="*/ 0 w 301"/>
                <a:gd name="T13" fmla="*/ 0 h 147"/>
                <a:gd name="T14" fmla="*/ 0 w 301"/>
                <a:gd name="T15" fmla="*/ 110 h 1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1" h="147">
                  <a:moveTo>
                    <a:pt x="0" y="110"/>
                  </a:moveTo>
                  <a:lnTo>
                    <a:pt x="0" y="110"/>
                  </a:lnTo>
                  <a:cubicBezTo>
                    <a:pt x="104" y="110"/>
                    <a:pt x="207" y="123"/>
                    <a:pt x="301" y="147"/>
                  </a:cubicBezTo>
                  <a:lnTo>
                    <a:pt x="301" y="147"/>
                  </a:lnTo>
                  <a:lnTo>
                    <a:pt x="290" y="34"/>
                  </a:lnTo>
                  <a:lnTo>
                    <a:pt x="290" y="34"/>
                  </a:lnTo>
                  <a:cubicBezTo>
                    <a:pt x="200" y="12"/>
                    <a:pt x="101" y="0"/>
                    <a:pt x="0" y="0"/>
                  </a:cubicBezTo>
                  <a:lnTo>
                    <a:pt x="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0" name="Freeform 11">
              <a:extLst>
                <a:ext uri="{FF2B5EF4-FFF2-40B4-BE49-F238E27FC236}">
                  <a16:creationId xmlns:a16="http://schemas.microsoft.com/office/drawing/2014/main" id="{BD03A302-19C6-4245-AEC7-DD3AD8E7E4A7}"/>
                </a:ext>
              </a:extLst>
            </p:cNvPr>
            <p:cNvSpPr>
              <a:spLocks/>
            </p:cNvSpPr>
            <p:nvPr/>
          </p:nvSpPr>
          <p:spPr bwMode="auto">
            <a:xfrm>
              <a:off x="1587" y="3573"/>
              <a:ext cx="130" cy="78"/>
            </a:xfrm>
            <a:custGeom>
              <a:avLst/>
              <a:gdLst>
                <a:gd name="T0" fmla="*/ 0 w 217"/>
                <a:gd name="T1" fmla="*/ 110 h 129"/>
                <a:gd name="T2" fmla="*/ 0 w 217"/>
                <a:gd name="T3" fmla="*/ 110 h 129"/>
                <a:gd name="T4" fmla="*/ 217 w 217"/>
                <a:gd name="T5" fmla="*/ 129 h 129"/>
                <a:gd name="T6" fmla="*/ 217 w 217"/>
                <a:gd name="T7" fmla="*/ 129 h 129"/>
                <a:gd name="T8" fmla="*/ 207 w 217"/>
                <a:gd name="T9" fmla="*/ 17 h 129"/>
                <a:gd name="T10" fmla="*/ 207 w 217"/>
                <a:gd name="T11" fmla="*/ 17 h 129"/>
                <a:gd name="T12" fmla="*/ 0 w 217"/>
                <a:gd name="T13" fmla="*/ 0 h 129"/>
                <a:gd name="T14" fmla="*/ 0 w 217"/>
                <a:gd name="T15" fmla="*/ 110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7" h="129">
                  <a:moveTo>
                    <a:pt x="0" y="110"/>
                  </a:moveTo>
                  <a:lnTo>
                    <a:pt x="0" y="110"/>
                  </a:lnTo>
                  <a:cubicBezTo>
                    <a:pt x="74" y="110"/>
                    <a:pt x="148" y="117"/>
                    <a:pt x="217" y="129"/>
                  </a:cubicBezTo>
                  <a:lnTo>
                    <a:pt x="217" y="129"/>
                  </a:lnTo>
                  <a:lnTo>
                    <a:pt x="207" y="17"/>
                  </a:lnTo>
                  <a:lnTo>
                    <a:pt x="207" y="17"/>
                  </a:lnTo>
                  <a:cubicBezTo>
                    <a:pt x="140" y="6"/>
                    <a:pt x="70" y="0"/>
                    <a:pt x="0" y="0"/>
                  </a:cubicBezTo>
                  <a:lnTo>
                    <a:pt x="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1" name="Freeform 12">
              <a:extLst>
                <a:ext uri="{FF2B5EF4-FFF2-40B4-BE49-F238E27FC236}">
                  <a16:creationId xmlns:a16="http://schemas.microsoft.com/office/drawing/2014/main" id="{D8ADF316-4443-42EC-A343-2A366C5A4A9F}"/>
                </a:ext>
              </a:extLst>
            </p:cNvPr>
            <p:cNvSpPr>
              <a:spLocks/>
            </p:cNvSpPr>
            <p:nvPr/>
          </p:nvSpPr>
          <p:spPr bwMode="auto">
            <a:xfrm>
              <a:off x="1587" y="2648"/>
              <a:ext cx="44" cy="68"/>
            </a:xfrm>
            <a:custGeom>
              <a:avLst/>
              <a:gdLst>
                <a:gd name="T0" fmla="*/ 0 w 73"/>
                <a:gd name="T1" fmla="*/ 110 h 112"/>
                <a:gd name="T2" fmla="*/ 0 w 73"/>
                <a:gd name="T3" fmla="*/ 110 h 112"/>
                <a:gd name="T4" fmla="*/ 73 w 73"/>
                <a:gd name="T5" fmla="*/ 112 h 112"/>
                <a:gd name="T6" fmla="*/ 73 w 73"/>
                <a:gd name="T7" fmla="*/ 112 h 112"/>
                <a:gd name="T8" fmla="*/ 62 w 73"/>
                <a:gd name="T9" fmla="*/ 1 h 112"/>
                <a:gd name="T10" fmla="*/ 62 w 73"/>
                <a:gd name="T11" fmla="*/ 1 h 112"/>
                <a:gd name="T12" fmla="*/ 0 w 73"/>
                <a:gd name="T13" fmla="*/ 0 h 112"/>
                <a:gd name="T14" fmla="*/ 0 w 73"/>
                <a:gd name="T15" fmla="*/ 110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112">
                  <a:moveTo>
                    <a:pt x="0" y="110"/>
                  </a:moveTo>
                  <a:lnTo>
                    <a:pt x="0" y="110"/>
                  </a:lnTo>
                  <a:cubicBezTo>
                    <a:pt x="24" y="110"/>
                    <a:pt x="49" y="111"/>
                    <a:pt x="73" y="112"/>
                  </a:cubicBezTo>
                  <a:lnTo>
                    <a:pt x="73" y="112"/>
                  </a:lnTo>
                  <a:lnTo>
                    <a:pt x="62" y="1"/>
                  </a:lnTo>
                  <a:lnTo>
                    <a:pt x="62" y="1"/>
                  </a:lnTo>
                  <a:cubicBezTo>
                    <a:pt x="42" y="0"/>
                    <a:pt x="21" y="0"/>
                    <a:pt x="0" y="0"/>
                  </a:cubicBezTo>
                  <a:lnTo>
                    <a:pt x="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2" name="Freeform 13">
              <a:extLst>
                <a:ext uri="{FF2B5EF4-FFF2-40B4-BE49-F238E27FC236}">
                  <a16:creationId xmlns:a16="http://schemas.microsoft.com/office/drawing/2014/main" id="{67F8F442-30C7-4543-9306-C2F4F369AABB}"/>
                </a:ext>
              </a:extLst>
            </p:cNvPr>
            <p:cNvSpPr>
              <a:spLocks/>
            </p:cNvSpPr>
            <p:nvPr/>
          </p:nvSpPr>
          <p:spPr bwMode="auto">
            <a:xfrm>
              <a:off x="1587" y="2781"/>
              <a:ext cx="56" cy="68"/>
            </a:xfrm>
            <a:custGeom>
              <a:avLst/>
              <a:gdLst>
                <a:gd name="T0" fmla="*/ 0 w 93"/>
                <a:gd name="T1" fmla="*/ 110 h 114"/>
                <a:gd name="T2" fmla="*/ 0 w 93"/>
                <a:gd name="T3" fmla="*/ 110 h 114"/>
                <a:gd name="T4" fmla="*/ 93 w 93"/>
                <a:gd name="T5" fmla="*/ 114 h 114"/>
                <a:gd name="T6" fmla="*/ 93 w 93"/>
                <a:gd name="T7" fmla="*/ 114 h 114"/>
                <a:gd name="T8" fmla="*/ 83 w 93"/>
                <a:gd name="T9" fmla="*/ 3 h 114"/>
                <a:gd name="T10" fmla="*/ 83 w 93"/>
                <a:gd name="T11" fmla="*/ 3 h 114"/>
                <a:gd name="T12" fmla="*/ 0 w 93"/>
                <a:gd name="T13" fmla="*/ 0 h 114"/>
                <a:gd name="T14" fmla="*/ 0 w 93"/>
                <a:gd name="T15" fmla="*/ 110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114">
                  <a:moveTo>
                    <a:pt x="0" y="110"/>
                  </a:moveTo>
                  <a:lnTo>
                    <a:pt x="0" y="110"/>
                  </a:lnTo>
                  <a:cubicBezTo>
                    <a:pt x="31" y="110"/>
                    <a:pt x="62" y="111"/>
                    <a:pt x="93" y="114"/>
                  </a:cubicBezTo>
                  <a:lnTo>
                    <a:pt x="93" y="114"/>
                  </a:lnTo>
                  <a:lnTo>
                    <a:pt x="83" y="3"/>
                  </a:lnTo>
                  <a:lnTo>
                    <a:pt x="83" y="3"/>
                  </a:lnTo>
                  <a:cubicBezTo>
                    <a:pt x="55" y="1"/>
                    <a:pt x="28" y="0"/>
                    <a:pt x="0" y="0"/>
                  </a:cubicBezTo>
                  <a:lnTo>
                    <a:pt x="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3" name="Freeform 14">
              <a:extLst>
                <a:ext uri="{FF2B5EF4-FFF2-40B4-BE49-F238E27FC236}">
                  <a16:creationId xmlns:a16="http://schemas.microsoft.com/office/drawing/2014/main" id="{EC2E4D7B-5D7A-4FA2-94E8-6F0CED326AA1}"/>
                </a:ext>
              </a:extLst>
            </p:cNvPr>
            <p:cNvSpPr>
              <a:spLocks/>
            </p:cNvSpPr>
            <p:nvPr/>
          </p:nvSpPr>
          <p:spPr bwMode="auto">
            <a:xfrm>
              <a:off x="1587" y="2516"/>
              <a:ext cx="31" cy="67"/>
            </a:xfrm>
            <a:custGeom>
              <a:avLst/>
              <a:gdLst>
                <a:gd name="T0" fmla="*/ 0 w 52"/>
                <a:gd name="T1" fmla="*/ 110 h 112"/>
                <a:gd name="T2" fmla="*/ 0 w 52"/>
                <a:gd name="T3" fmla="*/ 110 h 112"/>
                <a:gd name="T4" fmla="*/ 52 w 52"/>
                <a:gd name="T5" fmla="*/ 112 h 112"/>
                <a:gd name="T6" fmla="*/ 52 w 52"/>
                <a:gd name="T7" fmla="*/ 112 h 112"/>
                <a:gd name="T8" fmla="*/ 42 w 52"/>
                <a:gd name="T9" fmla="*/ 1 h 112"/>
                <a:gd name="T10" fmla="*/ 42 w 52"/>
                <a:gd name="T11" fmla="*/ 1 h 112"/>
                <a:gd name="T12" fmla="*/ 0 w 52"/>
                <a:gd name="T13" fmla="*/ 0 h 112"/>
                <a:gd name="T14" fmla="*/ 0 w 52"/>
                <a:gd name="T15" fmla="*/ 110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12">
                  <a:moveTo>
                    <a:pt x="0" y="110"/>
                  </a:moveTo>
                  <a:lnTo>
                    <a:pt x="0" y="110"/>
                  </a:lnTo>
                  <a:cubicBezTo>
                    <a:pt x="17" y="111"/>
                    <a:pt x="35" y="111"/>
                    <a:pt x="52" y="112"/>
                  </a:cubicBezTo>
                  <a:lnTo>
                    <a:pt x="52" y="112"/>
                  </a:lnTo>
                  <a:lnTo>
                    <a:pt x="42" y="1"/>
                  </a:lnTo>
                  <a:lnTo>
                    <a:pt x="42" y="1"/>
                  </a:lnTo>
                  <a:cubicBezTo>
                    <a:pt x="28" y="1"/>
                    <a:pt x="14" y="0"/>
                    <a:pt x="0" y="0"/>
                  </a:cubicBezTo>
                  <a:lnTo>
                    <a:pt x="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4" name="Freeform 15">
              <a:extLst>
                <a:ext uri="{FF2B5EF4-FFF2-40B4-BE49-F238E27FC236}">
                  <a16:creationId xmlns:a16="http://schemas.microsoft.com/office/drawing/2014/main" id="{00991C16-CF7E-48B9-955A-A9105F7CC4AA}"/>
                </a:ext>
              </a:extLst>
            </p:cNvPr>
            <p:cNvSpPr>
              <a:spLocks/>
            </p:cNvSpPr>
            <p:nvPr/>
          </p:nvSpPr>
          <p:spPr bwMode="auto">
            <a:xfrm>
              <a:off x="1587" y="2384"/>
              <a:ext cx="19" cy="66"/>
            </a:xfrm>
            <a:custGeom>
              <a:avLst/>
              <a:gdLst>
                <a:gd name="T0" fmla="*/ 0 w 32"/>
                <a:gd name="T1" fmla="*/ 110 h 111"/>
                <a:gd name="T2" fmla="*/ 0 w 32"/>
                <a:gd name="T3" fmla="*/ 110 h 111"/>
                <a:gd name="T4" fmla="*/ 32 w 32"/>
                <a:gd name="T5" fmla="*/ 111 h 111"/>
                <a:gd name="T6" fmla="*/ 32 w 32"/>
                <a:gd name="T7" fmla="*/ 111 h 111"/>
                <a:gd name="T8" fmla="*/ 21 w 32"/>
                <a:gd name="T9" fmla="*/ 0 h 111"/>
                <a:gd name="T10" fmla="*/ 21 w 32"/>
                <a:gd name="T11" fmla="*/ 0 h 111"/>
                <a:gd name="T12" fmla="*/ 0 w 32"/>
                <a:gd name="T13" fmla="*/ 0 h 111"/>
                <a:gd name="T14" fmla="*/ 0 w 32"/>
                <a:gd name="T15" fmla="*/ 11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1">
                  <a:moveTo>
                    <a:pt x="0" y="110"/>
                  </a:moveTo>
                  <a:lnTo>
                    <a:pt x="0" y="110"/>
                  </a:lnTo>
                  <a:cubicBezTo>
                    <a:pt x="11" y="110"/>
                    <a:pt x="21" y="111"/>
                    <a:pt x="32" y="111"/>
                  </a:cubicBezTo>
                  <a:lnTo>
                    <a:pt x="32" y="111"/>
                  </a:lnTo>
                  <a:lnTo>
                    <a:pt x="21" y="0"/>
                  </a:lnTo>
                  <a:lnTo>
                    <a:pt x="21" y="0"/>
                  </a:lnTo>
                  <a:cubicBezTo>
                    <a:pt x="14" y="0"/>
                    <a:pt x="7" y="0"/>
                    <a:pt x="0" y="0"/>
                  </a:cubicBezTo>
                  <a:lnTo>
                    <a:pt x="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5" name="Freeform 16">
              <a:extLst>
                <a:ext uri="{FF2B5EF4-FFF2-40B4-BE49-F238E27FC236}">
                  <a16:creationId xmlns:a16="http://schemas.microsoft.com/office/drawing/2014/main" id="{A5CD0F0B-EC9F-4DFC-AE02-60D9674D67CD}"/>
                </a:ext>
              </a:extLst>
            </p:cNvPr>
            <p:cNvSpPr>
              <a:spLocks/>
            </p:cNvSpPr>
            <p:nvPr/>
          </p:nvSpPr>
          <p:spPr bwMode="auto">
            <a:xfrm>
              <a:off x="1587" y="2913"/>
              <a:ext cx="68" cy="69"/>
            </a:xfrm>
            <a:custGeom>
              <a:avLst/>
              <a:gdLst>
                <a:gd name="T0" fmla="*/ 0 w 114"/>
                <a:gd name="T1" fmla="*/ 110 h 116"/>
                <a:gd name="T2" fmla="*/ 0 w 114"/>
                <a:gd name="T3" fmla="*/ 110 h 116"/>
                <a:gd name="T4" fmla="*/ 114 w 114"/>
                <a:gd name="T5" fmla="*/ 116 h 116"/>
                <a:gd name="T6" fmla="*/ 114 w 114"/>
                <a:gd name="T7" fmla="*/ 116 h 116"/>
                <a:gd name="T8" fmla="*/ 104 w 114"/>
                <a:gd name="T9" fmla="*/ 5 h 116"/>
                <a:gd name="T10" fmla="*/ 104 w 114"/>
                <a:gd name="T11" fmla="*/ 4 h 116"/>
                <a:gd name="T12" fmla="*/ 0 w 114"/>
                <a:gd name="T13" fmla="*/ 0 h 116"/>
                <a:gd name="T14" fmla="*/ 0 w 114"/>
                <a:gd name="T15" fmla="*/ 110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116">
                  <a:moveTo>
                    <a:pt x="0" y="110"/>
                  </a:moveTo>
                  <a:lnTo>
                    <a:pt x="0" y="110"/>
                  </a:lnTo>
                  <a:cubicBezTo>
                    <a:pt x="38" y="110"/>
                    <a:pt x="76" y="112"/>
                    <a:pt x="114" y="116"/>
                  </a:cubicBezTo>
                  <a:lnTo>
                    <a:pt x="114" y="116"/>
                  </a:lnTo>
                  <a:lnTo>
                    <a:pt x="104" y="5"/>
                  </a:lnTo>
                  <a:lnTo>
                    <a:pt x="104" y="4"/>
                  </a:lnTo>
                  <a:cubicBezTo>
                    <a:pt x="69" y="2"/>
                    <a:pt x="35" y="0"/>
                    <a:pt x="0" y="0"/>
                  </a:cubicBezTo>
                  <a:lnTo>
                    <a:pt x="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6" name="Freeform 17">
              <a:extLst>
                <a:ext uri="{FF2B5EF4-FFF2-40B4-BE49-F238E27FC236}">
                  <a16:creationId xmlns:a16="http://schemas.microsoft.com/office/drawing/2014/main" id="{9DA2DDA8-3AFA-4042-8767-03A00115FF8A}"/>
                </a:ext>
              </a:extLst>
            </p:cNvPr>
            <p:cNvSpPr>
              <a:spLocks/>
            </p:cNvSpPr>
            <p:nvPr/>
          </p:nvSpPr>
          <p:spPr bwMode="auto">
            <a:xfrm>
              <a:off x="1587" y="3177"/>
              <a:ext cx="93" cy="72"/>
            </a:xfrm>
            <a:custGeom>
              <a:avLst/>
              <a:gdLst>
                <a:gd name="T0" fmla="*/ 0 w 155"/>
                <a:gd name="T1" fmla="*/ 110 h 120"/>
                <a:gd name="T2" fmla="*/ 0 w 155"/>
                <a:gd name="T3" fmla="*/ 110 h 120"/>
                <a:gd name="T4" fmla="*/ 155 w 155"/>
                <a:gd name="T5" fmla="*/ 120 h 120"/>
                <a:gd name="T6" fmla="*/ 155 w 155"/>
                <a:gd name="T7" fmla="*/ 120 h 120"/>
                <a:gd name="T8" fmla="*/ 145 w 155"/>
                <a:gd name="T9" fmla="*/ 9 h 120"/>
                <a:gd name="T10" fmla="*/ 145 w 155"/>
                <a:gd name="T11" fmla="*/ 9 h 120"/>
                <a:gd name="T12" fmla="*/ 0 w 155"/>
                <a:gd name="T13" fmla="*/ 0 h 120"/>
                <a:gd name="T14" fmla="*/ 0 w 155"/>
                <a:gd name="T15" fmla="*/ 110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5" h="120">
                  <a:moveTo>
                    <a:pt x="0" y="110"/>
                  </a:moveTo>
                  <a:lnTo>
                    <a:pt x="0" y="110"/>
                  </a:lnTo>
                  <a:cubicBezTo>
                    <a:pt x="52" y="111"/>
                    <a:pt x="104" y="114"/>
                    <a:pt x="155" y="120"/>
                  </a:cubicBezTo>
                  <a:lnTo>
                    <a:pt x="155" y="120"/>
                  </a:lnTo>
                  <a:lnTo>
                    <a:pt x="145" y="9"/>
                  </a:lnTo>
                  <a:lnTo>
                    <a:pt x="145" y="9"/>
                  </a:lnTo>
                  <a:cubicBezTo>
                    <a:pt x="97" y="3"/>
                    <a:pt x="49" y="1"/>
                    <a:pt x="0" y="0"/>
                  </a:cubicBezTo>
                  <a:lnTo>
                    <a:pt x="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7" name="Freeform 18">
              <a:extLst>
                <a:ext uri="{FF2B5EF4-FFF2-40B4-BE49-F238E27FC236}">
                  <a16:creationId xmlns:a16="http://schemas.microsoft.com/office/drawing/2014/main" id="{076ABABA-9E7C-46AF-8DF8-A53AAA5DD768}"/>
                </a:ext>
              </a:extLst>
            </p:cNvPr>
            <p:cNvSpPr>
              <a:spLocks/>
            </p:cNvSpPr>
            <p:nvPr/>
          </p:nvSpPr>
          <p:spPr bwMode="auto">
            <a:xfrm>
              <a:off x="1587" y="3309"/>
              <a:ext cx="105" cy="73"/>
            </a:xfrm>
            <a:custGeom>
              <a:avLst/>
              <a:gdLst>
                <a:gd name="T0" fmla="*/ 0 w 176"/>
                <a:gd name="T1" fmla="*/ 111 h 123"/>
                <a:gd name="T2" fmla="*/ 0 w 176"/>
                <a:gd name="T3" fmla="*/ 111 h 123"/>
                <a:gd name="T4" fmla="*/ 176 w 176"/>
                <a:gd name="T5" fmla="*/ 123 h 123"/>
                <a:gd name="T6" fmla="*/ 176 w 176"/>
                <a:gd name="T7" fmla="*/ 123 h 123"/>
                <a:gd name="T8" fmla="*/ 165 w 176"/>
                <a:gd name="T9" fmla="*/ 12 h 123"/>
                <a:gd name="T10" fmla="*/ 165 w 176"/>
                <a:gd name="T11" fmla="*/ 12 h 123"/>
                <a:gd name="T12" fmla="*/ 0 w 176"/>
                <a:gd name="T13" fmla="*/ 0 h 123"/>
                <a:gd name="T14" fmla="*/ 0 w 176"/>
                <a:gd name="T15" fmla="*/ 111 h 1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6" h="123">
                  <a:moveTo>
                    <a:pt x="0" y="111"/>
                  </a:moveTo>
                  <a:lnTo>
                    <a:pt x="0" y="111"/>
                  </a:lnTo>
                  <a:cubicBezTo>
                    <a:pt x="60" y="111"/>
                    <a:pt x="119" y="115"/>
                    <a:pt x="176" y="123"/>
                  </a:cubicBezTo>
                  <a:lnTo>
                    <a:pt x="176" y="123"/>
                  </a:lnTo>
                  <a:lnTo>
                    <a:pt x="165" y="12"/>
                  </a:lnTo>
                  <a:lnTo>
                    <a:pt x="165" y="12"/>
                  </a:lnTo>
                  <a:cubicBezTo>
                    <a:pt x="112" y="5"/>
                    <a:pt x="56" y="1"/>
                    <a:pt x="0" y="0"/>
                  </a:cubicBezTo>
                  <a:lnTo>
                    <a:pt x="0" y="11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8" name="Freeform 19">
              <a:extLst>
                <a:ext uri="{FF2B5EF4-FFF2-40B4-BE49-F238E27FC236}">
                  <a16:creationId xmlns:a16="http://schemas.microsoft.com/office/drawing/2014/main" id="{70D011DC-850E-4B8F-A2FA-D9CD1AB84D18}"/>
                </a:ext>
              </a:extLst>
            </p:cNvPr>
            <p:cNvSpPr>
              <a:spLocks/>
            </p:cNvSpPr>
            <p:nvPr/>
          </p:nvSpPr>
          <p:spPr bwMode="auto">
            <a:xfrm>
              <a:off x="1587" y="3045"/>
              <a:ext cx="80" cy="70"/>
            </a:xfrm>
            <a:custGeom>
              <a:avLst/>
              <a:gdLst>
                <a:gd name="T0" fmla="*/ 0 w 134"/>
                <a:gd name="T1" fmla="*/ 110 h 118"/>
                <a:gd name="T2" fmla="*/ 0 w 134"/>
                <a:gd name="T3" fmla="*/ 110 h 118"/>
                <a:gd name="T4" fmla="*/ 134 w 134"/>
                <a:gd name="T5" fmla="*/ 118 h 118"/>
                <a:gd name="T6" fmla="*/ 134 w 134"/>
                <a:gd name="T7" fmla="*/ 118 h 118"/>
                <a:gd name="T8" fmla="*/ 124 w 134"/>
                <a:gd name="T9" fmla="*/ 7 h 118"/>
                <a:gd name="T10" fmla="*/ 124 w 134"/>
                <a:gd name="T11" fmla="*/ 7 h 118"/>
                <a:gd name="T12" fmla="*/ 0 w 134"/>
                <a:gd name="T13" fmla="*/ 0 h 118"/>
                <a:gd name="T14" fmla="*/ 0 w 134"/>
                <a:gd name="T15" fmla="*/ 110 h 1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18">
                  <a:moveTo>
                    <a:pt x="0" y="110"/>
                  </a:moveTo>
                  <a:lnTo>
                    <a:pt x="0" y="110"/>
                  </a:lnTo>
                  <a:cubicBezTo>
                    <a:pt x="45" y="111"/>
                    <a:pt x="90" y="113"/>
                    <a:pt x="134" y="118"/>
                  </a:cubicBezTo>
                  <a:lnTo>
                    <a:pt x="134" y="118"/>
                  </a:lnTo>
                  <a:lnTo>
                    <a:pt x="124" y="7"/>
                  </a:lnTo>
                  <a:lnTo>
                    <a:pt x="124" y="7"/>
                  </a:lnTo>
                  <a:cubicBezTo>
                    <a:pt x="83" y="3"/>
                    <a:pt x="42" y="0"/>
                    <a:pt x="0" y="0"/>
                  </a:cubicBezTo>
                  <a:lnTo>
                    <a:pt x="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9" name="Freeform 20">
              <a:extLst>
                <a:ext uri="{FF2B5EF4-FFF2-40B4-BE49-F238E27FC236}">
                  <a16:creationId xmlns:a16="http://schemas.microsoft.com/office/drawing/2014/main" id="{FCA0CB8B-6302-4145-B875-4F6A976B27B6}"/>
                </a:ext>
              </a:extLst>
            </p:cNvPr>
            <p:cNvSpPr>
              <a:spLocks/>
            </p:cNvSpPr>
            <p:nvPr/>
          </p:nvSpPr>
          <p:spPr bwMode="auto">
            <a:xfrm>
              <a:off x="1742" y="3920"/>
              <a:ext cx="44" cy="77"/>
            </a:xfrm>
            <a:custGeom>
              <a:avLst/>
              <a:gdLst>
                <a:gd name="T0" fmla="*/ 73 w 73"/>
                <a:gd name="T1" fmla="*/ 128 h 128"/>
                <a:gd name="T2" fmla="*/ 73 w 73"/>
                <a:gd name="T3" fmla="*/ 128 h 128"/>
                <a:gd name="T4" fmla="*/ 73 w 73"/>
                <a:gd name="T5" fmla="*/ 18 h 128"/>
                <a:gd name="T6" fmla="*/ 0 w 73"/>
                <a:gd name="T7" fmla="*/ 0 h 128"/>
                <a:gd name="T8" fmla="*/ 10 w 73"/>
                <a:gd name="T9" fmla="*/ 112 h 128"/>
                <a:gd name="T10" fmla="*/ 73 w 73"/>
                <a:gd name="T11" fmla="*/ 128 h 128"/>
              </a:gdLst>
              <a:ahLst/>
              <a:cxnLst>
                <a:cxn ang="0">
                  <a:pos x="T0" y="T1"/>
                </a:cxn>
                <a:cxn ang="0">
                  <a:pos x="T2" y="T3"/>
                </a:cxn>
                <a:cxn ang="0">
                  <a:pos x="T4" y="T5"/>
                </a:cxn>
                <a:cxn ang="0">
                  <a:pos x="T6" y="T7"/>
                </a:cxn>
                <a:cxn ang="0">
                  <a:pos x="T8" y="T9"/>
                </a:cxn>
                <a:cxn ang="0">
                  <a:pos x="T10" y="T11"/>
                </a:cxn>
              </a:cxnLst>
              <a:rect l="0" t="0" r="r" b="b"/>
              <a:pathLst>
                <a:path w="73" h="128">
                  <a:moveTo>
                    <a:pt x="73" y="128"/>
                  </a:moveTo>
                  <a:lnTo>
                    <a:pt x="73" y="128"/>
                  </a:lnTo>
                  <a:lnTo>
                    <a:pt x="73" y="18"/>
                  </a:lnTo>
                  <a:cubicBezTo>
                    <a:pt x="49" y="11"/>
                    <a:pt x="25" y="5"/>
                    <a:pt x="0" y="0"/>
                  </a:cubicBezTo>
                  <a:lnTo>
                    <a:pt x="10" y="112"/>
                  </a:lnTo>
                  <a:cubicBezTo>
                    <a:pt x="32" y="117"/>
                    <a:pt x="53" y="122"/>
                    <a:pt x="73" y="12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0" name="Freeform 21">
              <a:extLst>
                <a:ext uri="{FF2B5EF4-FFF2-40B4-BE49-F238E27FC236}">
                  <a16:creationId xmlns:a16="http://schemas.microsoft.com/office/drawing/2014/main" id="{2E5376B5-2A8D-4D58-A11A-193051EF8E76}"/>
                </a:ext>
              </a:extLst>
            </p:cNvPr>
            <p:cNvSpPr>
              <a:spLocks/>
            </p:cNvSpPr>
            <p:nvPr/>
          </p:nvSpPr>
          <p:spPr bwMode="auto">
            <a:xfrm>
              <a:off x="1655" y="2982"/>
              <a:ext cx="131" cy="90"/>
            </a:xfrm>
            <a:custGeom>
              <a:avLst/>
              <a:gdLst>
                <a:gd name="T0" fmla="*/ 218 w 218"/>
                <a:gd name="T1" fmla="*/ 150 h 150"/>
                <a:gd name="T2" fmla="*/ 218 w 218"/>
                <a:gd name="T3" fmla="*/ 150 h 150"/>
                <a:gd name="T4" fmla="*/ 218 w 218"/>
                <a:gd name="T5" fmla="*/ 40 h 150"/>
                <a:gd name="T6" fmla="*/ 0 w 218"/>
                <a:gd name="T7" fmla="*/ 0 h 150"/>
                <a:gd name="T8" fmla="*/ 10 w 218"/>
                <a:gd name="T9" fmla="*/ 111 h 150"/>
                <a:gd name="T10" fmla="*/ 218 w 218"/>
                <a:gd name="T11" fmla="*/ 150 h 150"/>
              </a:gdLst>
              <a:ahLst/>
              <a:cxnLst>
                <a:cxn ang="0">
                  <a:pos x="T0" y="T1"/>
                </a:cxn>
                <a:cxn ang="0">
                  <a:pos x="T2" y="T3"/>
                </a:cxn>
                <a:cxn ang="0">
                  <a:pos x="T4" y="T5"/>
                </a:cxn>
                <a:cxn ang="0">
                  <a:pos x="T6" y="T7"/>
                </a:cxn>
                <a:cxn ang="0">
                  <a:pos x="T8" y="T9"/>
                </a:cxn>
                <a:cxn ang="0">
                  <a:pos x="T10" y="T11"/>
                </a:cxn>
              </a:cxnLst>
              <a:rect l="0" t="0" r="r" b="b"/>
              <a:pathLst>
                <a:path w="218" h="150">
                  <a:moveTo>
                    <a:pt x="218" y="150"/>
                  </a:moveTo>
                  <a:lnTo>
                    <a:pt x="218" y="150"/>
                  </a:lnTo>
                  <a:lnTo>
                    <a:pt x="218" y="40"/>
                  </a:lnTo>
                  <a:cubicBezTo>
                    <a:pt x="150" y="20"/>
                    <a:pt x="76" y="7"/>
                    <a:pt x="0" y="0"/>
                  </a:cubicBezTo>
                  <a:lnTo>
                    <a:pt x="10" y="111"/>
                  </a:lnTo>
                  <a:cubicBezTo>
                    <a:pt x="83" y="118"/>
                    <a:pt x="153" y="131"/>
                    <a:pt x="218" y="15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1" name="Freeform 22">
              <a:extLst>
                <a:ext uri="{FF2B5EF4-FFF2-40B4-BE49-F238E27FC236}">
                  <a16:creationId xmlns:a16="http://schemas.microsoft.com/office/drawing/2014/main" id="{EA1C2701-7508-487A-B864-C4729C9FAB5D}"/>
                </a:ext>
              </a:extLst>
            </p:cNvPr>
            <p:cNvSpPr>
              <a:spLocks/>
            </p:cNvSpPr>
            <p:nvPr/>
          </p:nvSpPr>
          <p:spPr bwMode="auto">
            <a:xfrm>
              <a:off x="1680" y="3249"/>
              <a:ext cx="106" cy="87"/>
            </a:xfrm>
            <a:custGeom>
              <a:avLst/>
              <a:gdLst>
                <a:gd name="T0" fmla="*/ 177 w 177"/>
                <a:gd name="T1" fmla="*/ 146 h 146"/>
                <a:gd name="T2" fmla="*/ 177 w 177"/>
                <a:gd name="T3" fmla="*/ 146 h 146"/>
                <a:gd name="T4" fmla="*/ 177 w 177"/>
                <a:gd name="T5" fmla="*/ 36 h 146"/>
                <a:gd name="T6" fmla="*/ 0 w 177"/>
                <a:gd name="T7" fmla="*/ 0 h 146"/>
                <a:gd name="T8" fmla="*/ 10 w 177"/>
                <a:gd name="T9" fmla="*/ 112 h 146"/>
                <a:gd name="T10" fmla="*/ 177 w 177"/>
                <a:gd name="T11" fmla="*/ 146 h 146"/>
              </a:gdLst>
              <a:ahLst/>
              <a:cxnLst>
                <a:cxn ang="0">
                  <a:pos x="T0" y="T1"/>
                </a:cxn>
                <a:cxn ang="0">
                  <a:pos x="T2" y="T3"/>
                </a:cxn>
                <a:cxn ang="0">
                  <a:pos x="T4" y="T5"/>
                </a:cxn>
                <a:cxn ang="0">
                  <a:pos x="T6" y="T7"/>
                </a:cxn>
                <a:cxn ang="0">
                  <a:pos x="T8" y="T9"/>
                </a:cxn>
                <a:cxn ang="0">
                  <a:pos x="T10" y="T11"/>
                </a:cxn>
              </a:cxnLst>
              <a:rect l="0" t="0" r="r" b="b"/>
              <a:pathLst>
                <a:path w="177" h="146">
                  <a:moveTo>
                    <a:pt x="177" y="146"/>
                  </a:moveTo>
                  <a:lnTo>
                    <a:pt x="177" y="146"/>
                  </a:lnTo>
                  <a:lnTo>
                    <a:pt x="177" y="36"/>
                  </a:lnTo>
                  <a:cubicBezTo>
                    <a:pt x="121" y="20"/>
                    <a:pt x="62" y="8"/>
                    <a:pt x="0" y="0"/>
                  </a:cubicBezTo>
                  <a:lnTo>
                    <a:pt x="10" y="112"/>
                  </a:lnTo>
                  <a:cubicBezTo>
                    <a:pt x="68" y="119"/>
                    <a:pt x="124" y="131"/>
                    <a:pt x="177" y="1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2" name="Freeform 23">
              <a:extLst>
                <a:ext uri="{FF2B5EF4-FFF2-40B4-BE49-F238E27FC236}">
                  <a16:creationId xmlns:a16="http://schemas.microsoft.com/office/drawing/2014/main" id="{D074951F-E1EC-469E-88C1-DF1C684BA65F}"/>
                </a:ext>
              </a:extLst>
            </p:cNvPr>
            <p:cNvSpPr>
              <a:spLocks/>
            </p:cNvSpPr>
            <p:nvPr/>
          </p:nvSpPr>
          <p:spPr bwMode="auto">
            <a:xfrm>
              <a:off x="1667" y="3115"/>
              <a:ext cx="119" cy="89"/>
            </a:xfrm>
            <a:custGeom>
              <a:avLst/>
              <a:gdLst>
                <a:gd name="T0" fmla="*/ 198 w 198"/>
                <a:gd name="T1" fmla="*/ 148 h 148"/>
                <a:gd name="T2" fmla="*/ 198 w 198"/>
                <a:gd name="T3" fmla="*/ 148 h 148"/>
                <a:gd name="T4" fmla="*/ 198 w 198"/>
                <a:gd name="T5" fmla="*/ 38 h 148"/>
                <a:gd name="T6" fmla="*/ 0 w 198"/>
                <a:gd name="T7" fmla="*/ 0 h 148"/>
                <a:gd name="T8" fmla="*/ 11 w 198"/>
                <a:gd name="T9" fmla="*/ 111 h 148"/>
                <a:gd name="T10" fmla="*/ 198 w 198"/>
                <a:gd name="T11" fmla="*/ 148 h 148"/>
              </a:gdLst>
              <a:ahLst/>
              <a:cxnLst>
                <a:cxn ang="0">
                  <a:pos x="T0" y="T1"/>
                </a:cxn>
                <a:cxn ang="0">
                  <a:pos x="T2" y="T3"/>
                </a:cxn>
                <a:cxn ang="0">
                  <a:pos x="T4" y="T5"/>
                </a:cxn>
                <a:cxn ang="0">
                  <a:pos x="T6" y="T7"/>
                </a:cxn>
                <a:cxn ang="0">
                  <a:pos x="T8" y="T9"/>
                </a:cxn>
                <a:cxn ang="0">
                  <a:pos x="T10" y="T11"/>
                </a:cxn>
              </a:cxnLst>
              <a:rect l="0" t="0" r="r" b="b"/>
              <a:pathLst>
                <a:path w="198" h="148">
                  <a:moveTo>
                    <a:pt x="198" y="148"/>
                  </a:moveTo>
                  <a:lnTo>
                    <a:pt x="198" y="148"/>
                  </a:lnTo>
                  <a:lnTo>
                    <a:pt x="198" y="38"/>
                  </a:lnTo>
                  <a:cubicBezTo>
                    <a:pt x="136" y="20"/>
                    <a:pt x="69" y="7"/>
                    <a:pt x="0" y="0"/>
                  </a:cubicBezTo>
                  <a:lnTo>
                    <a:pt x="11" y="111"/>
                  </a:lnTo>
                  <a:cubicBezTo>
                    <a:pt x="76" y="119"/>
                    <a:pt x="139" y="131"/>
                    <a:pt x="198" y="14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3" name="Freeform 24">
              <a:extLst>
                <a:ext uri="{FF2B5EF4-FFF2-40B4-BE49-F238E27FC236}">
                  <a16:creationId xmlns:a16="http://schemas.microsoft.com/office/drawing/2014/main" id="{44C60BE2-BA5B-4F0B-A3AC-B5521101BB05}"/>
                </a:ext>
              </a:extLst>
            </p:cNvPr>
            <p:cNvSpPr>
              <a:spLocks/>
            </p:cNvSpPr>
            <p:nvPr/>
          </p:nvSpPr>
          <p:spPr bwMode="auto">
            <a:xfrm>
              <a:off x="1631" y="2716"/>
              <a:ext cx="155" cy="92"/>
            </a:xfrm>
            <a:custGeom>
              <a:avLst/>
              <a:gdLst>
                <a:gd name="T0" fmla="*/ 259 w 259"/>
                <a:gd name="T1" fmla="*/ 153 h 153"/>
                <a:gd name="T2" fmla="*/ 259 w 259"/>
                <a:gd name="T3" fmla="*/ 153 h 153"/>
                <a:gd name="T4" fmla="*/ 259 w 259"/>
                <a:gd name="T5" fmla="*/ 43 h 153"/>
                <a:gd name="T6" fmla="*/ 0 w 259"/>
                <a:gd name="T7" fmla="*/ 0 h 153"/>
                <a:gd name="T8" fmla="*/ 10 w 259"/>
                <a:gd name="T9" fmla="*/ 111 h 153"/>
                <a:gd name="T10" fmla="*/ 259 w 259"/>
                <a:gd name="T11" fmla="*/ 153 h 153"/>
              </a:gdLst>
              <a:ahLst/>
              <a:cxnLst>
                <a:cxn ang="0">
                  <a:pos x="T0" y="T1"/>
                </a:cxn>
                <a:cxn ang="0">
                  <a:pos x="T2" y="T3"/>
                </a:cxn>
                <a:cxn ang="0">
                  <a:pos x="T4" y="T5"/>
                </a:cxn>
                <a:cxn ang="0">
                  <a:pos x="T6" y="T7"/>
                </a:cxn>
                <a:cxn ang="0">
                  <a:pos x="T8" y="T9"/>
                </a:cxn>
                <a:cxn ang="0">
                  <a:pos x="T10" y="T11"/>
                </a:cxn>
              </a:cxnLst>
              <a:rect l="0" t="0" r="r" b="b"/>
              <a:pathLst>
                <a:path w="259" h="153">
                  <a:moveTo>
                    <a:pt x="259" y="153"/>
                  </a:moveTo>
                  <a:lnTo>
                    <a:pt x="259" y="153"/>
                  </a:lnTo>
                  <a:lnTo>
                    <a:pt x="259" y="43"/>
                  </a:lnTo>
                  <a:cubicBezTo>
                    <a:pt x="179" y="20"/>
                    <a:pt x="91" y="6"/>
                    <a:pt x="0" y="0"/>
                  </a:cubicBezTo>
                  <a:lnTo>
                    <a:pt x="10" y="111"/>
                  </a:lnTo>
                  <a:cubicBezTo>
                    <a:pt x="97" y="117"/>
                    <a:pt x="182" y="131"/>
                    <a:pt x="259" y="15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4" name="Freeform 25">
              <a:extLst>
                <a:ext uri="{FF2B5EF4-FFF2-40B4-BE49-F238E27FC236}">
                  <a16:creationId xmlns:a16="http://schemas.microsoft.com/office/drawing/2014/main" id="{E04B76DC-FF4C-4A4F-BD41-AADC3A09DDC3}"/>
                </a:ext>
              </a:extLst>
            </p:cNvPr>
            <p:cNvSpPr>
              <a:spLocks/>
            </p:cNvSpPr>
            <p:nvPr/>
          </p:nvSpPr>
          <p:spPr bwMode="auto">
            <a:xfrm>
              <a:off x="1593" y="2318"/>
              <a:ext cx="193" cy="93"/>
            </a:xfrm>
            <a:custGeom>
              <a:avLst/>
              <a:gdLst>
                <a:gd name="T0" fmla="*/ 321 w 321"/>
                <a:gd name="T1" fmla="*/ 156 h 156"/>
                <a:gd name="T2" fmla="*/ 321 w 321"/>
                <a:gd name="T3" fmla="*/ 156 h 156"/>
                <a:gd name="T4" fmla="*/ 321 w 321"/>
                <a:gd name="T5" fmla="*/ 46 h 156"/>
                <a:gd name="T6" fmla="*/ 0 w 321"/>
                <a:gd name="T7" fmla="*/ 0 h 156"/>
                <a:gd name="T8" fmla="*/ 10 w 321"/>
                <a:gd name="T9" fmla="*/ 110 h 156"/>
                <a:gd name="T10" fmla="*/ 321 w 321"/>
                <a:gd name="T11" fmla="*/ 156 h 156"/>
              </a:gdLst>
              <a:ahLst/>
              <a:cxnLst>
                <a:cxn ang="0">
                  <a:pos x="T0" y="T1"/>
                </a:cxn>
                <a:cxn ang="0">
                  <a:pos x="T2" y="T3"/>
                </a:cxn>
                <a:cxn ang="0">
                  <a:pos x="T4" y="T5"/>
                </a:cxn>
                <a:cxn ang="0">
                  <a:pos x="T6" y="T7"/>
                </a:cxn>
                <a:cxn ang="0">
                  <a:pos x="T8" y="T9"/>
                </a:cxn>
                <a:cxn ang="0">
                  <a:pos x="T10" y="T11"/>
                </a:cxn>
              </a:cxnLst>
              <a:rect l="0" t="0" r="r" b="b"/>
              <a:pathLst>
                <a:path w="321" h="156">
                  <a:moveTo>
                    <a:pt x="321" y="156"/>
                  </a:moveTo>
                  <a:lnTo>
                    <a:pt x="321" y="156"/>
                  </a:lnTo>
                  <a:lnTo>
                    <a:pt x="321" y="46"/>
                  </a:lnTo>
                  <a:cubicBezTo>
                    <a:pt x="223" y="17"/>
                    <a:pt x="113" y="2"/>
                    <a:pt x="0" y="0"/>
                  </a:cubicBezTo>
                  <a:lnTo>
                    <a:pt x="10" y="110"/>
                  </a:lnTo>
                  <a:cubicBezTo>
                    <a:pt x="119" y="113"/>
                    <a:pt x="226" y="128"/>
                    <a:pt x="321" y="1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5" name="Freeform 26">
              <a:extLst>
                <a:ext uri="{FF2B5EF4-FFF2-40B4-BE49-F238E27FC236}">
                  <a16:creationId xmlns:a16="http://schemas.microsoft.com/office/drawing/2014/main" id="{EF7EB8E6-384C-408A-ADA7-2CE1A34C9A51}"/>
                </a:ext>
              </a:extLst>
            </p:cNvPr>
            <p:cNvSpPr>
              <a:spLocks/>
            </p:cNvSpPr>
            <p:nvPr/>
          </p:nvSpPr>
          <p:spPr bwMode="auto">
            <a:xfrm>
              <a:off x="1606" y="2450"/>
              <a:ext cx="180" cy="93"/>
            </a:xfrm>
            <a:custGeom>
              <a:avLst/>
              <a:gdLst>
                <a:gd name="T0" fmla="*/ 300 w 300"/>
                <a:gd name="T1" fmla="*/ 155 h 155"/>
                <a:gd name="T2" fmla="*/ 300 w 300"/>
                <a:gd name="T3" fmla="*/ 155 h 155"/>
                <a:gd name="T4" fmla="*/ 300 w 300"/>
                <a:gd name="T5" fmla="*/ 45 h 155"/>
                <a:gd name="T6" fmla="*/ 0 w 300"/>
                <a:gd name="T7" fmla="*/ 0 h 155"/>
                <a:gd name="T8" fmla="*/ 10 w 300"/>
                <a:gd name="T9" fmla="*/ 110 h 155"/>
                <a:gd name="T10" fmla="*/ 300 w 300"/>
                <a:gd name="T11" fmla="*/ 155 h 155"/>
              </a:gdLst>
              <a:ahLst/>
              <a:cxnLst>
                <a:cxn ang="0">
                  <a:pos x="T0" y="T1"/>
                </a:cxn>
                <a:cxn ang="0">
                  <a:pos x="T2" y="T3"/>
                </a:cxn>
                <a:cxn ang="0">
                  <a:pos x="T4" y="T5"/>
                </a:cxn>
                <a:cxn ang="0">
                  <a:pos x="T6" y="T7"/>
                </a:cxn>
                <a:cxn ang="0">
                  <a:pos x="T8" y="T9"/>
                </a:cxn>
                <a:cxn ang="0">
                  <a:pos x="T10" y="T11"/>
                </a:cxn>
              </a:cxnLst>
              <a:rect l="0" t="0" r="r" b="b"/>
              <a:pathLst>
                <a:path w="300" h="155">
                  <a:moveTo>
                    <a:pt x="300" y="155"/>
                  </a:moveTo>
                  <a:lnTo>
                    <a:pt x="300" y="155"/>
                  </a:lnTo>
                  <a:lnTo>
                    <a:pt x="300" y="45"/>
                  </a:lnTo>
                  <a:cubicBezTo>
                    <a:pt x="208" y="18"/>
                    <a:pt x="105" y="3"/>
                    <a:pt x="0" y="0"/>
                  </a:cubicBezTo>
                  <a:lnTo>
                    <a:pt x="10" y="110"/>
                  </a:lnTo>
                  <a:cubicBezTo>
                    <a:pt x="112" y="114"/>
                    <a:pt x="211" y="129"/>
                    <a:pt x="300" y="15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6" name="Freeform 27">
              <a:extLst>
                <a:ext uri="{FF2B5EF4-FFF2-40B4-BE49-F238E27FC236}">
                  <a16:creationId xmlns:a16="http://schemas.microsoft.com/office/drawing/2014/main" id="{0A313514-D08A-4886-B3B2-498F2F27D288}"/>
                </a:ext>
              </a:extLst>
            </p:cNvPr>
            <p:cNvSpPr>
              <a:spLocks/>
            </p:cNvSpPr>
            <p:nvPr/>
          </p:nvSpPr>
          <p:spPr bwMode="auto">
            <a:xfrm>
              <a:off x="1618" y="2583"/>
              <a:ext cx="168" cy="92"/>
            </a:xfrm>
            <a:custGeom>
              <a:avLst/>
              <a:gdLst>
                <a:gd name="T0" fmla="*/ 280 w 280"/>
                <a:gd name="T1" fmla="*/ 154 h 154"/>
                <a:gd name="T2" fmla="*/ 280 w 280"/>
                <a:gd name="T3" fmla="*/ 154 h 154"/>
                <a:gd name="T4" fmla="*/ 280 w 280"/>
                <a:gd name="T5" fmla="*/ 44 h 154"/>
                <a:gd name="T6" fmla="*/ 0 w 280"/>
                <a:gd name="T7" fmla="*/ 0 h 154"/>
                <a:gd name="T8" fmla="*/ 10 w 280"/>
                <a:gd name="T9" fmla="*/ 110 h 154"/>
                <a:gd name="T10" fmla="*/ 280 w 280"/>
                <a:gd name="T11" fmla="*/ 154 h 154"/>
              </a:gdLst>
              <a:ahLst/>
              <a:cxnLst>
                <a:cxn ang="0">
                  <a:pos x="T0" y="T1"/>
                </a:cxn>
                <a:cxn ang="0">
                  <a:pos x="T2" y="T3"/>
                </a:cxn>
                <a:cxn ang="0">
                  <a:pos x="T4" y="T5"/>
                </a:cxn>
                <a:cxn ang="0">
                  <a:pos x="T6" y="T7"/>
                </a:cxn>
                <a:cxn ang="0">
                  <a:pos x="T8" y="T9"/>
                </a:cxn>
                <a:cxn ang="0">
                  <a:pos x="T10" y="T11"/>
                </a:cxn>
              </a:cxnLst>
              <a:rect l="0" t="0" r="r" b="b"/>
              <a:pathLst>
                <a:path w="280" h="154">
                  <a:moveTo>
                    <a:pt x="280" y="154"/>
                  </a:moveTo>
                  <a:lnTo>
                    <a:pt x="280" y="154"/>
                  </a:lnTo>
                  <a:lnTo>
                    <a:pt x="280" y="44"/>
                  </a:lnTo>
                  <a:cubicBezTo>
                    <a:pt x="194" y="19"/>
                    <a:pt x="98" y="4"/>
                    <a:pt x="0" y="0"/>
                  </a:cubicBezTo>
                  <a:lnTo>
                    <a:pt x="10" y="110"/>
                  </a:lnTo>
                  <a:cubicBezTo>
                    <a:pt x="105" y="115"/>
                    <a:pt x="197" y="130"/>
                    <a:pt x="280" y="15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7" name="Freeform 28">
              <a:extLst>
                <a:ext uri="{FF2B5EF4-FFF2-40B4-BE49-F238E27FC236}">
                  <a16:creationId xmlns:a16="http://schemas.microsoft.com/office/drawing/2014/main" id="{B63D68E9-076F-4570-BDBA-870068A0C61B}"/>
                </a:ext>
              </a:extLst>
            </p:cNvPr>
            <p:cNvSpPr>
              <a:spLocks/>
            </p:cNvSpPr>
            <p:nvPr/>
          </p:nvSpPr>
          <p:spPr bwMode="auto">
            <a:xfrm>
              <a:off x="1643" y="2849"/>
              <a:ext cx="143" cy="91"/>
            </a:xfrm>
            <a:custGeom>
              <a:avLst/>
              <a:gdLst>
                <a:gd name="T0" fmla="*/ 239 w 239"/>
                <a:gd name="T1" fmla="*/ 151 h 151"/>
                <a:gd name="T2" fmla="*/ 239 w 239"/>
                <a:gd name="T3" fmla="*/ 151 h 151"/>
                <a:gd name="T4" fmla="*/ 239 w 239"/>
                <a:gd name="T5" fmla="*/ 41 h 151"/>
                <a:gd name="T6" fmla="*/ 0 w 239"/>
                <a:gd name="T7" fmla="*/ 0 h 151"/>
                <a:gd name="T8" fmla="*/ 11 w 239"/>
                <a:gd name="T9" fmla="*/ 111 h 151"/>
                <a:gd name="T10" fmla="*/ 239 w 239"/>
                <a:gd name="T11" fmla="*/ 151 h 151"/>
              </a:gdLst>
              <a:ahLst/>
              <a:cxnLst>
                <a:cxn ang="0">
                  <a:pos x="T0" y="T1"/>
                </a:cxn>
                <a:cxn ang="0">
                  <a:pos x="T2" y="T3"/>
                </a:cxn>
                <a:cxn ang="0">
                  <a:pos x="T4" y="T5"/>
                </a:cxn>
                <a:cxn ang="0">
                  <a:pos x="T6" y="T7"/>
                </a:cxn>
                <a:cxn ang="0">
                  <a:pos x="T8" y="T9"/>
                </a:cxn>
                <a:cxn ang="0">
                  <a:pos x="T10" y="T11"/>
                </a:cxn>
              </a:cxnLst>
              <a:rect l="0" t="0" r="r" b="b"/>
              <a:pathLst>
                <a:path w="239" h="151">
                  <a:moveTo>
                    <a:pt x="239" y="151"/>
                  </a:moveTo>
                  <a:lnTo>
                    <a:pt x="239" y="151"/>
                  </a:lnTo>
                  <a:lnTo>
                    <a:pt x="239" y="41"/>
                  </a:lnTo>
                  <a:cubicBezTo>
                    <a:pt x="165" y="20"/>
                    <a:pt x="84" y="6"/>
                    <a:pt x="0" y="0"/>
                  </a:cubicBezTo>
                  <a:lnTo>
                    <a:pt x="11" y="111"/>
                  </a:lnTo>
                  <a:cubicBezTo>
                    <a:pt x="91" y="117"/>
                    <a:pt x="168" y="131"/>
                    <a:pt x="239" y="15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8" name="Freeform 29">
              <a:extLst>
                <a:ext uri="{FF2B5EF4-FFF2-40B4-BE49-F238E27FC236}">
                  <a16:creationId xmlns:a16="http://schemas.microsoft.com/office/drawing/2014/main" id="{08BD8BC3-C1EF-40BC-91DC-15505AF70BDF}"/>
                </a:ext>
              </a:extLst>
            </p:cNvPr>
            <p:cNvSpPr>
              <a:spLocks/>
            </p:cNvSpPr>
            <p:nvPr/>
          </p:nvSpPr>
          <p:spPr bwMode="auto">
            <a:xfrm>
              <a:off x="1755" y="4055"/>
              <a:ext cx="31" cy="74"/>
            </a:xfrm>
            <a:custGeom>
              <a:avLst/>
              <a:gdLst>
                <a:gd name="T0" fmla="*/ 52 w 52"/>
                <a:gd name="T1" fmla="*/ 123 h 123"/>
                <a:gd name="T2" fmla="*/ 52 w 52"/>
                <a:gd name="T3" fmla="*/ 123 h 123"/>
                <a:gd name="T4" fmla="*/ 52 w 52"/>
                <a:gd name="T5" fmla="*/ 13 h 123"/>
                <a:gd name="T6" fmla="*/ 0 w 52"/>
                <a:gd name="T7" fmla="*/ 0 h 123"/>
                <a:gd name="T8" fmla="*/ 10 w 52"/>
                <a:gd name="T9" fmla="*/ 112 h 123"/>
                <a:gd name="T10" fmla="*/ 52 w 52"/>
                <a:gd name="T11" fmla="*/ 123 h 123"/>
              </a:gdLst>
              <a:ahLst/>
              <a:cxnLst>
                <a:cxn ang="0">
                  <a:pos x="T0" y="T1"/>
                </a:cxn>
                <a:cxn ang="0">
                  <a:pos x="T2" y="T3"/>
                </a:cxn>
                <a:cxn ang="0">
                  <a:pos x="T4" y="T5"/>
                </a:cxn>
                <a:cxn ang="0">
                  <a:pos x="T6" y="T7"/>
                </a:cxn>
                <a:cxn ang="0">
                  <a:pos x="T8" y="T9"/>
                </a:cxn>
                <a:cxn ang="0">
                  <a:pos x="T10" y="T11"/>
                </a:cxn>
              </a:cxnLst>
              <a:rect l="0" t="0" r="r" b="b"/>
              <a:pathLst>
                <a:path w="52" h="123">
                  <a:moveTo>
                    <a:pt x="52" y="123"/>
                  </a:moveTo>
                  <a:lnTo>
                    <a:pt x="52" y="123"/>
                  </a:lnTo>
                  <a:lnTo>
                    <a:pt x="52" y="13"/>
                  </a:lnTo>
                  <a:cubicBezTo>
                    <a:pt x="35" y="8"/>
                    <a:pt x="18" y="4"/>
                    <a:pt x="0" y="0"/>
                  </a:cubicBezTo>
                  <a:lnTo>
                    <a:pt x="10" y="112"/>
                  </a:lnTo>
                  <a:cubicBezTo>
                    <a:pt x="24" y="115"/>
                    <a:pt x="38" y="119"/>
                    <a:pt x="52" y="12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9" name="Freeform 30">
              <a:extLst>
                <a:ext uri="{FF2B5EF4-FFF2-40B4-BE49-F238E27FC236}">
                  <a16:creationId xmlns:a16="http://schemas.microsoft.com/office/drawing/2014/main" id="{875BD185-4B7D-45E7-B016-F941F2E29519}"/>
                </a:ext>
              </a:extLst>
            </p:cNvPr>
            <p:cNvSpPr>
              <a:spLocks/>
            </p:cNvSpPr>
            <p:nvPr/>
          </p:nvSpPr>
          <p:spPr bwMode="auto">
            <a:xfrm>
              <a:off x="1767" y="4190"/>
              <a:ext cx="19" cy="71"/>
            </a:xfrm>
            <a:custGeom>
              <a:avLst/>
              <a:gdLst>
                <a:gd name="T0" fmla="*/ 31 w 31"/>
                <a:gd name="T1" fmla="*/ 118 h 118"/>
                <a:gd name="T2" fmla="*/ 31 w 31"/>
                <a:gd name="T3" fmla="*/ 118 h 118"/>
                <a:gd name="T4" fmla="*/ 31 w 31"/>
                <a:gd name="T5" fmla="*/ 8 h 118"/>
                <a:gd name="T6" fmla="*/ 0 w 31"/>
                <a:gd name="T7" fmla="*/ 0 h 118"/>
                <a:gd name="T8" fmla="*/ 10 w 31"/>
                <a:gd name="T9" fmla="*/ 113 h 118"/>
                <a:gd name="T10" fmla="*/ 31 w 31"/>
                <a:gd name="T11" fmla="*/ 118 h 118"/>
              </a:gdLst>
              <a:ahLst/>
              <a:cxnLst>
                <a:cxn ang="0">
                  <a:pos x="T0" y="T1"/>
                </a:cxn>
                <a:cxn ang="0">
                  <a:pos x="T2" y="T3"/>
                </a:cxn>
                <a:cxn ang="0">
                  <a:pos x="T4" y="T5"/>
                </a:cxn>
                <a:cxn ang="0">
                  <a:pos x="T6" y="T7"/>
                </a:cxn>
                <a:cxn ang="0">
                  <a:pos x="T8" y="T9"/>
                </a:cxn>
                <a:cxn ang="0">
                  <a:pos x="T10" y="T11"/>
                </a:cxn>
              </a:cxnLst>
              <a:rect l="0" t="0" r="r" b="b"/>
              <a:pathLst>
                <a:path w="31" h="118">
                  <a:moveTo>
                    <a:pt x="31" y="118"/>
                  </a:moveTo>
                  <a:lnTo>
                    <a:pt x="31" y="118"/>
                  </a:lnTo>
                  <a:lnTo>
                    <a:pt x="31" y="8"/>
                  </a:lnTo>
                  <a:cubicBezTo>
                    <a:pt x="21" y="5"/>
                    <a:pt x="10" y="2"/>
                    <a:pt x="0" y="0"/>
                  </a:cubicBezTo>
                  <a:lnTo>
                    <a:pt x="10" y="113"/>
                  </a:lnTo>
                  <a:cubicBezTo>
                    <a:pt x="17" y="114"/>
                    <a:pt x="24" y="116"/>
                    <a:pt x="31" y="1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0" name="Freeform 31">
              <a:extLst>
                <a:ext uri="{FF2B5EF4-FFF2-40B4-BE49-F238E27FC236}">
                  <a16:creationId xmlns:a16="http://schemas.microsoft.com/office/drawing/2014/main" id="{8356C16E-E9E9-4645-96C9-C1D3334E6079}"/>
                </a:ext>
              </a:extLst>
            </p:cNvPr>
            <p:cNvSpPr>
              <a:spLocks/>
            </p:cNvSpPr>
            <p:nvPr/>
          </p:nvSpPr>
          <p:spPr bwMode="auto">
            <a:xfrm>
              <a:off x="1705" y="3517"/>
              <a:ext cx="81" cy="83"/>
            </a:xfrm>
            <a:custGeom>
              <a:avLst/>
              <a:gdLst>
                <a:gd name="T0" fmla="*/ 135 w 135"/>
                <a:gd name="T1" fmla="*/ 139 h 139"/>
                <a:gd name="T2" fmla="*/ 135 w 135"/>
                <a:gd name="T3" fmla="*/ 139 h 139"/>
                <a:gd name="T4" fmla="*/ 135 w 135"/>
                <a:gd name="T5" fmla="*/ 29 h 139"/>
                <a:gd name="T6" fmla="*/ 0 w 135"/>
                <a:gd name="T7" fmla="*/ 0 h 139"/>
                <a:gd name="T8" fmla="*/ 10 w 135"/>
                <a:gd name="T9" fmla="*/ 111 h 139"/>
                <a:gd name="T10" fmla="*/ 135 w 135"/>
                <a:gd name="T11" fmla="*/ 139 h 139"/>
              </a:gdLst>
              <a:ahLst/>
              <a:cxnLst>
                <a:cxn ang="0">
                  <a:pos x="T0" y="T1"/>
                </a:cxn>
                <a:cxn ang="0">
                  <a:pos x="T2" y="T3"/>
                </a:cxn>
                <a:cxn ang="0">
                  <a:pos x="T4" y="T5"/>
                </a:cxn>
                <a:cxn ang="0">
                  <a:pos x="T6" y="T7"/>
                </a:cxn>
                <a:cxn ang="0">
                  <a:pos x="T8" y="T9"/>
                </a:cxn>
                <a:cxn ang="0">
                  <a:pos x="T10" y="T11"/>
                </a:cxn>
              </a:cxnLst>
              <a:rect l="0" t="0" r="r" b="b"/>
              <a:pathLst>
                <a:path w="135" h="139">
                  <a:moveTo>
                    <a:pt x="135" y="139"/>
                  </a:moveTo>
                  <a:lnTo>
                    <a:pt x="135" y="139"/>
                  </a:lnTo>
                  <a:lnTo>
                    <a:pt x="135" y="29"/>
                  </a:lnTo>
                  <a:cubicBezTo>
                    <a:pt x="92" y="17"/>
                    <a:pt x="46" y="7"/>
                    <a:pt x="0" y="0"/>
                  </a:cubicBezTo>
                  <a:lnTo>
                    <a:pt x="10" y="111"/>
                  </a:lnTo>
                  <a:cubicBezTo>
                    <a:pt x="53" y="119"/>
                    <a:pt x="95" y="128"/>
                    <a:pt x="135" y="13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1" name="Freeform 32">
              <a:extLst>
                <a:ext uri="{FF2B5EF4-FFF2-40B4-BE49-F238E27FC236}">
                  <a16:creationId xmlns:a16="http://schemas.microsoft.com/office/drawing/2014/main" id="{B895F828-0D6F-4429-BDCE-7A1B320E540C}"/>
                </a:ext>
              </a:extLst>
            </p:cNvPr>
            <p:cNvSpPr>
              <a:spLocks/>
            </p:cNvSpPr>
            <p:nvPr/>
          </p:nvSpPr>
          <p:spPr bwMode="auto">
            <a:xfrm>
              <a:off x="1692" y="3382"/>
              <a:ext cx="94" cy="86"/>
            </a:xfrm>
            <a:custGeom>
              <a:avLst/>
              <a:gdLst>
                <a:gd name="T0" fmla="*/ 156 w 156"/>
                <a:gd name="T1" fmla="*/ 143 h 143"/>
                <a:gd name="T2" fmla="*/ 156 w 156"/>
                <a:gd name="T3" fmla="*/ 143 h 143"/>
                <a:gd name="T4" fmla="*/ 156 w 156"/>
                <a:gd name="T5" fmla="*/ 33 h 143"/>
                <a:gd name="T6" fmla="*/ 0 w 156"/>
                <a:gd name="T7" fmla="*/ 0 h 143"/>
                <a:gd name="T8" fmla="*/ 10 w 156"/>
                <a:gd name="T9" fmla="*/ 112 h 143"/>
                <a:gd name="T10" fmla="*/ 156 w 156"/>
                <a:gd name="T11" fmla="*/ 143 h 143"/>
              </a:gdLst>
              <a:ahLst/>
              <a:cxnLst>
                <a:cxn ang="0">
                  <a:pos x="T0" y="T1"/>
                </a:cxn>
                <a:cxn ang="0">
                  <a:pos x="T2" y="T3"/>
                </a:cxn>
                <a:cxn ang="0">
                  <a:pos x="T4" y="T5"/>
                </a:cxn>
                <a:cxn ang="0">
                  <a:pos x="T6" y="T7"/>
                </a:cxn>
                <a:cxn ang="0">
                  <a:pos x="T8" y="T9"/>
                </a:cxn>
                <a:cxn ang="0">
                  <a:pos x="T10" y="T11"/>
                </a:cxn>
              </a:cxnLst>
              <a:rect l="0" t="0" r="r" b="b"/>
              <a:pathLst>
                <a:path w="156" h="143">
                  <a:moveTo>
                    <a:pt x="156" y="143"/>
                  </a:moveTo>
                  <a:lnTo>
                    <a:pt x="156" y="143"/>
                  </a:lnTo>
                  <a:lnTo>
                    <a:pt x="156" y="33"/>
                  </a:lnTo>
                  <a:cubicBezTo>
                    <a:pt x="107" y="19"/>
                    <a:pt x="54" y="8"/>
                    <a:pt x="0" y="0"/>
                  </a:cubicBezTo>
                  <a:lnTo>
                    <a:pt x="10" y="112"/>
                  </a:lnTo>
                  <a:cubicBezTo>
                    <a:pt x="61" y="119"/>
                    <a:pt x="110" y="130"/>
                    <a:pt x="156" y="14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2" name="Freeform 33">
              <a:extLst>
                <a:ext uri="{FF2B5EF4-FFF2-40B4-BE49-F238E27FC236}">
                  <a16:creationId xmlns:a16="http://schemas.microsoft.com/office/drawing/2014/main" id="{29B629D8-6F21-46D0-8D47-7E9ABE6FCC9B}"/>
                </a:ext>
              </a:extLst>
            </p:cNvPr>
            <p:cNvSpPr>
              <a:spLocks/>
            </p:cNvSpPr>
            <p:nvPr/>
          </p:nvSpPr>
          <p:spPr bwMode="auto">
            <a:xfrm>
              <a:off x="1717" y="3651"/>
              <a:ext cx="69" cy="82"/>
            </a:xfrm>
            <a:custGeom>
              <a:avLst/>
              <a:gdLst>
                <a:gd name="T0" fmla="*/ 115 w 115"/>
                <a:gd name="T1" fmla="*/ 137 h 137"/>
                <a:gd name="T2" fmla="*/ 115 w 115"/>
                <a:gd name="T3" fmla="*/ 137 h 137"/>
                <a:gd name="T4" fmla="*/ 115 w 115"/>
                <a:gd name="T5" fmla="*/ 26 h 137"/>
                <a:gd name="T6" fmla="*/ 0 w 115"/>
                <a:gd name="T7" fmla="*/ 0 h 137"/>
                <a:gd name="T8" fmla="*/ 11 w 115"/>
                <a:gd name="T9" fmla="*/ 112 h 137"/>
                <a:gd name="T10" fmla="*/ 115 w 115"/>
                <a:gd name="T11" fmla="*/ 137 h 137"/>
              </a:gdLst>
              <a:ahLst/>
              <a:cxnLst>
                <a:cxn ang="0">
                  <a:pos x="T0" y="T1"/>
                </a:cxn>
                <a:cxn ang="0">
                  <a:pos x="T2" y="T3"/>
                </a:cxn>
                <a:cxn ang="0">
                  <a:pos x="T4" y="T5"/>
                </a:cxn>
                <a:cxn ang="0">
                  <a:pos x="T6" y="T7"/>
                </a:cxn>
                <a:cxn ang="0">
                  <a:pos x="T8" y="T9"/>
                </a:cxn>
                <a:cxn ang="0">
                  <a:pos x="T10" y="T11"/>
                </a:cxn>
              </a:cxnLst>
              <a:rect l="0" t="0" r="r" b="b"/>
              <a:pathLst>
                <a:path w="115" h="137">
                  <a:moveTo>
                    <a:pt x="115" y="137"/>
                  </a:moveTo>
                  <a:lnTo>
                    <a:pt x="115" y="137"/>
                  </a:lnTo>
                  <a:lnTo>
                    <a:pt x="115" y="26"/>
                  </a:lnTo>
                  <a:cubicBezTo>
                    <a:pt x="78" y="16"/>
                    <a:pt x="40" y="7"/>
                    <a:pt x="0" y="0"/>
                  </a:cubicBezTo>
                  <a:lnTo>
                    <a:pt x="11" y="112"/>
                  </a:lnTo>
                  <a:cubicBezTo>
                    <a:pt x="47" y="119"/>
                    <a:pt x="82" y="127"/>
                    <a:pt x="115" y="13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3" name="Freeform 34">
              <a:extLst>
                <a:ext uri="{FF2B5EF4-FFF2-40B4-BE49-F238E27FC236}">
                  <a16:creationId xmlns:a16="http://schemas.microsoft.com/office/drawing/2014/main" id="{824AEC6D-6A59-4313-8BF6-1C80CA973493}"/>
                </a:ext>
              </a:extLst>
            </p:cNvPr>
            <p:cNvSpPr>
              <a:spLocks/>
            </p:cNvSpPr>
            <p:nvPr/>
          </p:nvSpPr>
          <p:spPr bwMode="auto">
            <a:xfrm>
              <a:off x="1730" y="3785"/>
              <a:ext cx="56" cy="80"/>
            </a:xfrm>
            <a:custGeom>
              <a:avLst/>
              <a:gdLst>
                <a:gd name="T0" fmla="*/ 94 w 94"/>
                <a:gd name="T1" fmla="*/ 133 h 133"/>
                <a:gd name="T2" fmla="*/ 94 w 94"/>
                <a:gd name="T3" fmla="*/ 133 h 133"/>
                <a:gd name="T4" fmla="*/ 94 w 94"/>
                <a:gd name="T5" fmla="*/ 23 h 133"/>
                <a:gd name="T6" fmla="*/ 0 w 94"/>
                <a:gd name="T7" fmla="*/ 0 h 133"/>
                <a:gd name="T8" fmla="*/ 10 w 94"/>
                <a:gd name="T9" fmla="*/ 112 h 133"/>
                <a:gd name="T10" fmla="*/ 94 w 94"/>
                <a:gd name="T11" fmla="*/ 133 h 133"/>
              </a:gdLst>
              <a:ahLst/>
              <a:cxnLst>
                <a:cxn ang="0">
                  <a:pos x="T0" y="T1"/>
                </a:cxn>
                <a:cxn ang="0">
                  <a:pos x="T2" y="T3"/>
                </a:cxn>
                <a:cxn ang="0">
                  <a:pos x="T4" y="T5"/>
                </a:cxn>
                <a:cxn ang="0">
                  <a:pos x="T6" y="T7"/>
                </a:cxn>
                <a:cxn ang="0">
                  <a:pos x="T8" y="T9"/>
                </a:cxn>
                <a:cxn ang="0">
                  <a:pos x="T10" y="T11"/>
                </a:cxn>
              </a:cxnLst>
              <a:rect l="0" t="0" r="r" b="b"/>
              <a:pathLst>
                <a:path w="94" h="133">
                  <a:moveTo>
                    <a:pt x="94" y="133"/>
                  </a:moveTo>
                  <a:lnTo>
                    <a:pt x="94" y="133"/>
                  </a:lnTo>
                  <a:lnTo>
                    <a:pt x="94" y="23"/>
                  </a:lnTo>
                  <a:cubicBezTo>
                    <a:pt x="64" y="14"/>
                    <a:pt x="32" y="7"/>
                    <a:pt x="0" y="0"/>
                  </a:cubicBezTo>
                  <a:lnTo>
                    <a:pt x="10" y="112"/>
                  </a:lnTo>
                  <a:cubicBezTo>
                    <a:pt x="39" y="118"/>
                    <a:pt x="67" y="125"/>
                    <a:pt x="94" y="13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4" name="Freeform 35">
              <a:extLst>
                <a:ext uri="{FF2B5EF4-FFF2-40B4-BE49-F238E27FC236}">
                  <a16:creationId xmlns:a16="http://schemas.microsoft.com/office/drawing/2014/main" id="{87D53204-8721-4701-B387-313384D305D2}"/>
                </a:ext>
              </a:extLst>
            </p:cNvPr>
            <p:cNvSpPr>
              <a:spLocks/>
            </p:cNvSpPr>
            <p:nvPr/>
          </p:nvSpPr>
          <p:spPr bwMode="auto">
            <a:xfrm>
              <a:off x="1587" y="3441"/>
              <a:ext cx="118" cy="76"/>
            </a:xfrm>
            <a:custGeom>
              <a:avLst/>
              <a:gdLst>
                <a:gd name="T0" fmla="*/ 0 w 197"/>
                <a:gd name="T1" fmla="*/ 110 h 126"/>
                <a:gd name="T2" fmla="*/ 0 w 197"/>
                <a:gd name="T3" fmla="*/ 110 h 126"/>
                <a:gd name="T4" fmla="*/ 197 w 197"/>
                <a:gd name="T5" fmla="*/ 126 h 126"/>
                <a:gd name="T6" fmla="*/ 197 w 197"/>
                <a:gd name="T7" fmla="*/ 126 h 126"/>
                <a:gd name="T8" fmla="*/ 186 w 197"/>
                <a:gd name="T9" fmla="*/ 14 h 126"/>
                <a:gd name="T10" fmla="*/ 186 w 197"/>
                <a:gd name="T11" fmla="*/ 14 h 126"/>
                <a:gd name="T12" fmla="*/ 0 w 197"/>
                <a:gd name="T13" fmla="*/ 0 h 126"/>
                <a:gd name="T14" fmla="*/ 0 w 197"/>
                <a:gd name="T15" fmla="*/ 110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 h="126">
                  <a:moveTo>
                    <a:pt x="0" y="110"/>
                  </a:moveTo>
                  <a:lnTo>
                    <a:pt x="0" y="110"/>
                  </a:lnTo>
                  <a:cubicBezTo>
                    <a:pt x="67" y="110"/>
                    <a:pt x="133" y="116"/>
                    <a:pt x="197" y="126"/>
                  </a:cubicBezTo>
                  <a:lnTo>
                    <a:pt x="197" y="126"/>
                  </a:lnTo>
                  <a:lnTo>
                    <a:pt x="186" y="14"/>
                  </a:lnTo>
                  <a:lnTo>
                    <a:pt x="186" y="14"/>
                  </a:lnTo>
                  <a:cubicBezTo>
                    <a:pt x="126" y="5"/>
                    <a:pt x="63" y="0"/>
                    <a:pt x="0" y="0"/>
                  </a:cubicBezTo>
                  <a:lnTo>
                    <a:pt x="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5" name="Freeform 36">
              <a:extLst>
                <a:ext uri="{FF2B5EF4-FFF2-40B4-BE49-F238E27FC236}">
                  <a16:creationId xmlns:a16="http://schemas.microsoft.com/office/drawing/2014/main" id="{34D81D55-B59B-4F82-895D-462D27F65AE6}"/>
                </a:ext>
              </a:extLst>
            </p:cNvPr>
            <p:cNvSpPr>
              <a:spLocks/>
            </p:cNvSpPr>
            <p:nvPr/>
          </p:nvSpPr>
          <p:spPr bwMode="auto">
            <a:xfrm>
              <a:off x="1520" y="2781"/>
              <a:ext cx="56" cy="68"/>
            </a:xfrm>
            <a:custGeom>
              <a:avLst/>
              <a:gdLst>
                <a:gd name="T0" fmla="*/ 0 w 94"/>
                <a:gd name="T1" fmla="*/ 114 h 114"/>
                <a:gd name="T2" fmla="*/ 0 w 94"/>
                <a:gd name="T3" fmla="*/ 114 h 114"/>
                <a:gd name="T4" fmla="*/ 0 w 94"/>
                <a:gd name="T5" fmla="*/ 114 h 114"/>
                <a:gd name="T6" fmla="*/ 94 w 94"/>
                <a:gd name="T7" fmla="*/ 110 h 114"/>
                <a:gd name="T8" fmla="*/ 94 w 94"/>
                <a:gd name="T9" fmla="*/ 0 h 114"/>
                <a:gd name="T10" fmla="*/ 11 w 94"/>
                <a:gd name="T11" fmla="*/ 3 h 114"/>
                <a:gd name="T12" fmla="*/ 11 w 94"/>
                <a:gd name="T13" fmla="*/ 3 h 114"/>
                <a:gd name="T14" fmla="*/ 0 w 94"/>
                <a:gd name="T15" fmla="*/ 114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114">
                  <a:moveTo>
                    <a:pt x="0" y="114"/>
                  </a:moveTo>
                  <a:lnTo>
                    <a:pt x="0" y="114"/>
                  </a:lnTo>
                  <a:lnTo>
                    <a:pt x="0" y="114"/>
                  </a:lnTo>
                  <a:cubicBezTo>
                    <a:pt x="31" y="111"/>
                    <a:pt x="62" y="110"/>
                    <a:pt x="94" y="110"/>
                  </a:cubicBezTo>
                  <a:lnTo>
                    <a:pt x="94" y="0"/>
                  </a:lnTo>
                  <a:cubicBezTo>
                    <a:pt x="66" y="0"/>
                    <a:pt x="38" y="1"/>
                    <a:pt x="11" y="3"/>
                  </a:cubicBezTo>
                  <a:lnTo>
                    <a:pt x="11" y="3"/>
                  </a:lnTo>
                  <a:lnTo>
                    <a:pt x="0" y="11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6" name="Freeform 37">
              <a:extLst>
                <a:ext uri="{FF2B5EF4-FFF2-40B4-BE49-F238E27FC236}">
                  <a16:creationId xmlns:a16="http://schemas.microsoft.com/office/drawing/2014/main" id="{8EF8B7C5-BD4F-4794-8690-16454F597653}"/>
                </a:ext>
              </a:extLst>
            </p:cNvPr>
            <p:cNvSpPr>
              <a:spLocks/>
            </p:cNvSpPr>
            <p:nvPr/>
          </p:nvSpPr>
          <p:spPr bwMode="auto">
            <a:xfrm>
              <a:off x="1377" y="2849"/>
              <a:ext cx="143" cy="91"/>
            </a:xfrm>
            <a:custGeom>
              <a:avLst/>
              <a:gdLst>
                <a:gd name="T0" fmla="*/ 0 w 238"/>
                <a:gd name="T1" fmla="*/ 151 h 151"/>
                <a:gd name="T2" fmla="*/ 0 w 238"/>
                <a:gd name="T3" fmla="*/ 151 h 151"/>
                <a:gd name="T4" fmla="*/ 228 w 238"/>
                <a:gd name="T5" fmla="*/ 110 h 151"/>
                <a:gd name="T6" fmla="*/ 238 w 238"/>
                <a:gd name="T7" fmla="*/ 0 h 151"/>
                <a:gd name="T8" fmla="*/ 0 w 238"/>
                <a:gd name="T9" fmla="*/ 41 h 151"/>
                <a:gd name="T10" fmla="*/ 0 w 238"/>
                <a:gd name="T11" fmla="*/ 151 h 151"/>
              </a:gdLst>
              <a:ahLst/>
              <a:cxnLst>
                <a:cxn ang="0">
                  <a:pos x="T0" y="T1"/>
                </a:cxn>
                <a:cxn ang="0">
                  <a:pos x="T2" y="T3"/>
                </a:cxn>
                <a:cxn ang="0">
                  <a:pos x="T4" y="T5"/>
                </a:cxn>
                <a:cxn ang="0">
                  <a:pos x="T6" y="T7"/>
                </a:cxn>
                <a:cxn ang="0">
                  <a:pos x="T8" y="T9"/>
                </a:cxn>
                <a:cxn ang="0">
                  <a:pos x="T10" y="T11"/>
                </a:cxn>
              </a:cxnLst>
              <a:rect l="0" t="0" r="r" b="b"/>
              <a:pathLst>
                <a:path w="238" h="151">
                  <a:moveTo>
                    <a:pt x="0" y="151"/>
                  </a:moveTo>
                  <a:lnTo>
                    <a:pt x="0" y="151"/>
                  </a:lnTo>
                  <a:cubicBezTo>
                    <a:pt x="71" y="131"/>
                    <a:pt x="148" y="117"/>
                    <a:pt x="228" y="110"/>
                  </a:cubicBezTo>
                  <a:lnTo>
                    <a:pt x="238" y="0"/>
                  </a:lnTo>
                  <a:cubicBezTo>
                    <a:pt x="155" y="6"/>
                    <a:pt x="74" y="20"/>
                    <a:pt x="0" y="41"/>
                  </a:cubicBezTo>
                  <a:lnTo>
                    <a:pt x="0" y="15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7" name="Freeform 38">
              <a:extLst>
                <a:ext uri="{FF2B5EF4-FFF2-40B4-BE49-F238E27FC236}">
                  <a16:creationId xmlns:a16="http://schemas.microsoft.com/office/drawing/2014/main" id="{FA658CB0-6BAA-49A5-853D-BA7B2D333400}"/>
                </a:ext>
              </a:extLst>
            </p:cNvPr>
            <p:cNvSpPr>
              <a:spLocks/>
            </p:cNvSpPr>
            <p:nvPr/>
          </p:nvSpPr>
          <p:spPr bwMode="auto">
            <a:xfrm>
              <a:off x="1377" y="2716"/>
              <a:ext cx="155" cy="92"/>
            </a:xfrm>
            <a:custGeom>
              <a:avLst/>
              <a:gdLst>
                <a:gd name="T0" fmla="*/ 0 w 259"/>
                <a:gd name="T1" fmla="*/ 153 h 153"/>
                <a:gd name="T2" fmla="*/ 0 w 259"/>
                <a:gd name="T3" fmla="*/ 153 h 153"/>
                <a:gd name="T4" fmla="*/ 249 w 259"/>
                <a:gd name="T5" fmla="*/ 111 h 153"/>
                <a:gd name="T6" fmla="*/ 259 w 259"/>
                <a:gd name="T7" fmla="*/ 0 h 153"/>
                <a:gd name="T8" fmla="*/ 0 w 259"/>
                <a:gd name="T9" fmla="*/ 43 h 153"/>
                <a:gd name="T10" fmla="*/ 0 w 259"/>
                <a:gd name="T11" fmla="*/ 153 h 153"/>
              </a:gdLst>
              <a:ahLst/>
              <a:cxnLst>
                <a:cxn ang="0">
                  <a:pos x="T0" y="T1"/>
                </a:cxn>
                <a:cxn ang="0">
                  <a:pos x="T2" y="T3"/>
                </a:cxn>
                <a:cxn ang="0">
                  <a:pos x="T4" y="T5"/>
                </a:cxn>
                <a:cxn ang="0">
                  <a:pos x="T6" y="T7"/>
                </a:cxn>
                <a:cxn ang="0">
                  <a:pos x="T8" y="T9"/>
                </a:cxn>
                <a:cxn ang="0">
                  <a:pos x="T10" y="T11"/>
                </a:cxn>
              </a:cxnLst>
              <a:rect l="0" t="0" r="r" b="b"/>
              <a:pathLst>
                <a:path w="259" h="153">
                  <a:moveTo>
                    <a:pt x="0" y="153"/>
                  </a:moveTo>
                  <a:lnTo>
                    <a:pt x="0" y="153"/>
                  </a:lnTo>
                  <a:cubicBezTo>
                    <a:pt x="77" y="131"/>
                    <a:pt x="161" y="117"/>
                    <a:pt x="249" y="111"/>
                  </a:cubicBezTo>
                  <a:lnTo>
                    <a:pt x="259" y="0"/>
                  </a:lnTo>
                  <a:cubicBezTo>
                    <a:pt x="168" y="6"/>
                    <a:pt x="80" y="20"/>
                    <a:pt x="0" y="43"/>
                  </a:cubicBezTo>
                  <a:lnTo>
                    <a:pt x="0" y="15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8" name="Freeform 39">
              <a:extLst>
                <a:ext uri="{FF2B5EF4-FFF2-40B4-BE49-F238E27FC236}">
                  <a16:creationId xmlns:a16="http://schemas.microsoft.com/office/drawing/2014/main" id="{438B501E-286C-41F3-A332-CE4A0D1D936E}"/>
                </a:ext>
              </a:extLst>
            </p:cNvPr>
            <p:cNvSpPr>
              <a:spLocks/>
            </p:cNvSpPr>
            <p:nvPr/>
          </p:nvSpPr>
          <p:spPr bwMode="auto">
            <a:xfrm>
              <a:off x="1508" y="2913"/>
              <a:ext cx="68" cy="69"/>
            </a:xfrm>
            <a:custGeom>
              <a:avLst/>
              <a:gdLst>
                <a:gd name="T0" fmla="*/ 0 w 114"/>
                <a:gd name="T1" fmla="*/ 116 h 116"/>
                <a:gd name="T2" fmla="*/ 0 w 114"/>
                <a:gd name="T3" fmla="*/ 116 h 116"/>
                <a:gd name="T4" fmla="*/ 0 w 114"/>
                <a:gd name="T5" fmla="*/ 116 h 116"/>
                <a:gd name="T6" fmla="*/ 114 w 114"/>
                <a:gd name="T7" fmla="*/ 110 h 116"/>
                <a:gd name="T8" fmla="*/ 114 w 114"/>
                <a:gd name="T9" fmla="*/ 0 h 116"/>
                <a:gd name="T10" fmla="*/ 10 w 114"/>
                <a:gd name="T11" fmla="*/ 5 h 116"/>
                <a:gd name="T12" fmla="*/ 10 w 114"/>
                <a:gd name="T13" fmla="*/ 5 h 116"/>
                <a:gd name="T14" fmla="*/ 0 w 114"/>
                <a:gd name="T15" fmla="*/ 116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116">
                  <a:moveTo>
                    <a:pt x="0" y="116"/>
                  </a:moveTo>
                  <a:lnTo>
                    <a:pt x="0" y="116"/>
                  </a:lnTo>
                  <a:lnTo>
                    <a:pt x="0" y="116"/>
                  </a:lnTo>
                  <a:cubicBezTo>
                    <a:pt x="37" y="112"/>
                    <a:pt x="75" y="110"/>
                    <a:pt x="114" y="110"/>
                  </a:cubicBezTo>
                  <a:lnTo>
                    <a:pt x="114" y="0"/>
                  </a:lnTo>
                  <a:cubicBezTo>
                    <a:pt x="79" y="0"/>
                    <a:pt x="44" y="2"/>
                    <a:pt x="10" y="5"/>
                  </a:cubicBezTo>
                  <a:lnTo>
                    <a:pt x="10" y="5"/>
                  </a:lnTo>
                  <a:lnTo>
                    <a:pt x="0" y="11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9" name="Freeform 40">
              <a:extLst>
                <a:ext uri="{FF2B5EF4-FFF2-40B4-BE49-F238E27FC236}">
                  <a16:creationId xmlns:a16="http://schemas.microsoft.com/office/drawing/2014/main" id="{C76AD12E-B126-4538-83D8-0C679A881710}"/>
                </a:ext>
              </a:extLst>
            </p:cNvPr>
            <p:cNvSpPr>
              <a:spLocks/>
            </p:cNvSpPr>
            <p:nvPr/>
          </p:nvSpPr>
          <p:spPr bwMode="auto">
            <a:xfrm>
              <a:off x="1377" y="3115"/>
              <a:ext cx="118" cy="89"/>
            </a:xfrm>
            <a:custGeom>
              <a:avLst/>
              <a:gdLst>
                <a:gd name="T0" fmla="*/ 0 w 197"/>
                <a:gd name="T1" fmla="*/ 148 h 148"/>
                <a:gd name="T2" fmla="*/ 0 w 197"/>
                <a:gd name="T3" fmla="*/ 148 h 148"/>
                <a:gd name="T4" fmla="*/ 187 w 197"/>
                <a:gd name="T5" fmla="*/ 111 h 148"/>
                <a:gd name="T6" fmla="*/ 197 w 197"/>
                <a:gd name="T7" fmla="*/ 0 h 148"/>
                <a:gd name="T8" fmla="*/ 0 w 197"/>
                <a:gd name="T9" fmla="*/ 38 h 148"/>
                <a:gd name="T10" fmla="*/ 0 w 197"/>
                <a:gd name="T11" fmla="*/ 148 h 148"/>
              </a:gdLst>
              <a:ahLst/>
              <a:cxnLst>
                <a:cxn ang="0">
                  <a:pos x="T0" y="T1"/>
                </a:cxn>
                <a:cxn ang="0">
                  <a:pos x="T2" y="T3"/>
                </a:cxn>
                <a:cxn ang="0">
                  <a:pos x="T4" y="T5"/>
                </a:cxn>
                <a:cxn ang="0">
                  <a:pos x="T6" y="T7"/>
                </a:cxn>
                <a:cxn ang="0">
                  <a:pos x="T8" y="T9"/>
                </a:cxn>
                <a:cxn ang="0">
                  <a:pos x="T10" y="T11"/>
                </a:cxn>
              </a:cxnLst>
              <a:rect l="0" t="0" r="r" b="b"/>
              <a:pathLst>
                <a:path w="197" h="148">
                  <a:moveTo>
                    <a:pt x="0" y="148"/>
                  </a:moveTo>
                  <a:lnTo>
                    <a:pt x="0" y="148"/>
                  </a:lnTo>
                  <a:cubicBezTo>
                    <a:pt x="58" y="131"/>
                    <a:pt x="121" y="119"/>
                    <a:pt x="187" y="111"/>
                  </a:cubicBezTo>
                  <a:lnTo>
                    <a:pt x="197" y="0"/>
                  </a:lnTo>
                  <a:cubicBezTo>
                    <a:pt x="128" y="7"/>
                    <a:pt x="61" y="20"/>
                    <a:pt x="0" y="38"/>
                  </a:cubicBezTo>
                  <a:lnTo>
                    <a:pt x="0" y="14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70" name="Freeform 41">
              <a:extLst>
                <a:ext uri="{FF2B5EF4-FFF2-40B4-BE49-F238E27FC236}">
                  <a16:creationId xmlns:a16="http://schemas.microsoft.com/office/drawing/2014/main" id="{66FF65A0-7A93-4BAF-8516-CC2E0D7DB652}"/>
                </a:ext>
              </a:extLst>
            </p:cNvPr>
            <p:cNvSpPr>
              <a:spLocks/>
            </p:cNvSpPr>
            <p:nvPr/>
          </p:nvSpPr>
          <p:spPr bwMode="auto">
            <a:xfrm>
              <a:off x="1483" y="3177"/>
              <a:ext cx="93" cy="72"/>
            </a:xfrm>
            <a:custGeom>
              <a:avLst/>
              <a:gdLst>
                <a:gd name="T0" fmla="*/ 0 w 156"/>
                <a:gd name="T1" fmla="*/ 120 h 120"/>
                <a:gd name="T2" fmla="*/ 0 w 156"/>
                <a:gd name="T3" fmla="*/ 120 h 120"/>
                <a:gd name="T4" fmla="*/ 0 w 156"/>
                <a:gd name="T5" fmla="*/ 120 h 120"/>
                <a:gd name="T6" fmla="*/ 156 w 156"/>
                <a:gd name="T7" fmla="*/ 110 h 120"/>
                <a:gd name="T8" fmla="*/ 156 w 156"/>
                <a:gd name="T9" fmla="*/ 0 h 120"/>
                <a:gd name="T10" fmla="*/ 11 w 156"/>
                <a:gd name="T11" fmla="*/ 9 h 120"/>
                <a:gd name="T12" fmla="*/ 11 w 156"/>
                <a:gd name="T13" fmla="*/ 9 h 120"/>
                <a:gd name="T14" fmla="*/ 0 w 156"/>
                <a:gd name="T15" fmla="*/ 120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 h="120">
                  <a:moveTo>
                    <a:pt x="0" y="120"/>
                  </a:moveTo>
                  <a:lnTo>
                    <a:pt x="0" y="120"/>
                  </a:lnTo>
                  <a:lnTo>
                    <a:pt x="0" y="120"/>
                  </a:lnTo>
                  <a:cubicBezTo>
                    <a:pt x="51" y="114"/>
                    <a:pt x="103" y="111"/>
                    <a:pt x="156" y="110"/>
                  </a:cubicBezTo>
                  <a:lnTo>
                    <a:pt x="156" y="0"/>
                  </a:lnTo>
                  <a:cubicBezTo>
                    <a:pt x="107" y="1"/>
                    <a:pt x="58" y="3"/>
                    <a:pt x="11" y="9"/>
                  </a:cubicBezTo>
                  <a:lnTo>
                    <a:pt x="11" y="9"/>
                  </a:lnTo>
                  <a:lnTo>
                    <a:pt x="0" y="1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71" name="Freeform 42">
              <a:extLst>
                <a:ext uri="{FF2B5EF4-FFF2-40B4-BE49-F238E27FC236}">
                  <a16:creationId xmlns:a16="http://schemas.microsoft.com/office/drawing/2014/main" id="{3CAC1294-BE50-4DC1-9446-5E54A8D48C71}"/>
                </a:ext>
              </a:extLst>
            </p:cNvPr>
            <p:cNvSpPr>
              <a:spLocks/>
            </p:cNvSpPr>
            <p:nvPr/>
          </p:nvSpPr>
          <p:spPr bwMode="auto">
            <a:xfrm>
              <a:off x="1377" y="2982"/>
              <a:ext cx="131" cy="90"/>
            </a:xfrm>
            <a:custGeom>
              <a:avLst/>
              <a:gdLst>
                <a:gd name="T0" fmla="*/ 0 w 218"/>
                <a:gd name="T1" fmla="*/ 150 h 150"/>
                <a:gd name="T2" fmla="*/ 0 w 218"/>
                <a:gd name="T3" fmla="*/ 150 h 150"/>
                <a:gd name="T4" fmla="*/ 207 w 218"/>
                <a:gd name="T5" fmla="*/ 111 h 150"/>
                <a:gd name="T6" fmla="*/ 218 w 218"/>
                <a:gd name="T7" fmla="*/ 0 h 150"/>
                <a:gd name="T8" fmla="*/ 0 w 218"/>
                <a:gd name="T9" fmla="*/ 40 h 150"/>
                <a:gd name="T10" fmla="*/ 0 w 218"/>
                <a:gd name="T11" fmla="*/ 150 h 150"/>
              </a:gdLst>
              <a:ahLst/>
              <a:cxnLst>
                <a:cxn ang="0">
                  <a:pos x="T0" y="T1"/>
                </a:cxn>
                <a:cxn ang="0">
                  <a:pos x="T2" y="T3"/>
                </a:cxn>
                <a:cxn ang="0">
                  <a:pos x="T4" y="T5"/>
                </a:cxn>
                <a:cxn ang="0">
                  <a:pos x="T6" y="T7"/>
                </a:cxn>
                <a:cxn ang="0">
                  <a:pos x="T8" y="T9"/>
                </a:cxn>
                <a:cxn ang="0">
                  <a:pos x="T10" y="T11"/>
                </a:cxn>
              </a:cxnLst>
              <a:rect l="0" t="0" r="r" b="b"/>
              <a:pathLst>
                <a:path w="218" h="150">
                  <a:moveTo>
                    <a:pt x="0" y="150"/>
                  </a:moveTo>
                  <a:lnTo>
                    <a:pt x="0" y="150"/>
                  </a:lnTo>
                  <a:cubicBezTo>
                    <a:pt x="64" y="131"/>
                    <a:pt x="135" y="118"/>
                    <a:pt x="207" y="111"/>
                  </a:cubicBezTo>
                  <a:lnTo>
                    <a:pt x="218" y="0"/>
                  </a:lnTo>
                  <a:cubicBezTo>
                    <a:pt x="141" y="7"/>
                    <a:pt x="67" y="20"/>
                    <a:pt x="0" y="40"/>
                  </a:cubicBezTo>
                  <a:lnTo>
                    <a:pt x="0" y="15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72" name="Freeform 43">
              <a:extLst>
                <a:ext uri="{FF2B5EF4-FFF2-40B4-BE49-F238E27FC236}">
                  <a16:creationId xmlns:a16="http://schemas.microsoft.com/office/drawing/2014/main" id="{1A0504A8-50A9-4335-8E4D-79B37976B7F9}"/>
                </a:ext>
              </a:extLst>
            </p:cNvPr>
            <p:cNvSpPr>
              <a:spLocks/>
            </p:cNvSpPr>
            <p:nvPr/>
          </p:nvSpPr>
          <p:spPr bwMode="auto">
            <a:xfrm>
              <a:off x="1495" y="3045"/>
              <a:ext cx="81" cy="70"/>
            </a:xfrm>
            <a:custGeom>
              <a:avLst/>
              <a:gdLst>
                <a:gd name="T0" fmla="*/ 0 w 135"/>
                <a:gd name="T1" fmla="*/ 118 h 118"/>
                <a:gd name="T2" fmla="*/ 0 w 135"/>
                <a:gd name="T3" fmla="*/ 118 h 118"/>
                <a:gd name="T4" fmla="*/ 0 w 135"/>
                <a:gd name="T5" fmla="*/ 118 h 118"/>
                <a:gd name="T6" fmla="*/ 135 w 135"/>
                <a:gd name="T7" fmla="*/ 110 h 118"/>
                <a:gd name="T8" fmla="*/ 135 w 135"/>
                <a:gd name="T9" fmla="*/ 0 h 118"/>
                <a:gd name="T10" fmla="*/ 10 w 135"/>
                <a:gd name="T11" fmla="*/ 7 h 118"/>
                <a:gd name="T12" fmla="*/ 10 w 135"/>
                <a:gd name="T13" fmla="*/ 7 h 118"/>
                <a:gd name="T14" fmla="*/ 0 w 135"/>
                <a:gd name="T15" fmla="*/ 118 h 1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118">
                  <a:moveTo>
                    <a:pt x="0" y="118"/>
                  </a:moveTo>
                  <a:lnTo>
                    <a:pt x="0" y="118"/>
                  </a:lnTo>
                  <a:lnTo>
                    <a:pt x="0" y="118"/>
                  </a:lnTo>
                  <a:cubicBezTo>
                    <a:pt x="44" y="113"/>
                    <a:pt x="89" y="111"/>
                    <a:pt x="135" y="110"/>
                  </a:cubicBezTo>
                  <a:lnTo>
                    <a:pt x="135" y="0"/>
                  </a:lnTo>
                  <a:cubicBezTo>
                    <a:pt x="93" y="0"/>
                    <a:pt x="51" y="3"/>
                    <a:pt x="10" y="7"/>
                  </a:cubicBezTo>
                  <a:lnTo>
                    <a:pt x="10" y="7"/>
                  </a:lnTo>
                  <a:lnTo>
                    <a:pt x="0" y="11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73" name="Freeform 44">
              <a:extLst>
                <a:ext uri="{FF2B5EF4-FFF2-40B4-BE49-F238E27FC236}">
                  <a16:creationId xmlns:a16="http://schemas.microsoft.com/office/drawing/2014/main" id="{85928810-9C94-402C-AB42-8017E8DF114D}"/>
                </a:ext>
              </a:extLst>
            </p:cNvPr>
            <p:cNvSpPr>
              <a:spLocks/>
            </p:cNvSpPr>
            <p:nvPr/>
          </p:nvSpPr>
          <p:spPr bwMode="auto">
            <a:xfrm>
              <a:off x="1532" y="2648"/>
              <a:ext cx="44" cy="68"/>
            </a:xfrm>
            <a:custGeom>
              <a:avLst/>
              <a:gdLst>
                <a:gd name="T0" fmla="*/ 0 w 73"/>
                <a:gd name="T1" fmla="*/ 112 h 112"/>
                <a:gd name="T2" fmla="*/ 0 w 73"/>
                <a:gd name="T3" fmla="*/ 112 h 112"/>
                <a:gd name="T4" fmla="*/ 0 w 73"/>
                <a:gd name="T5" fmla="*/ 112 h 112"/>
                <a:gd name="T6" fmla="*/ 73 w 73"/>
                <a:gd name="T7" fmla="*/ 110 h 112"/>
                <a:gd name="T8" fmla="*/ 73 w 73"/>
                <a:gd name="T9" fmla="*/ 0 h 112"/>
                <a:gd name="T10" fmla="*/ 10 w 73"/>
                <a:gd name="T11" fmla="*/ 1 h 112"/>
                <a:gd name="T12" fmla="*/ 10 w 73"/>
                <a:gd name="T13" fmla="*/ 1 h 112"/>
                <a:gd name="T14" fmla="*/ 0 w 73"/>
                <a:gd name="T15" fmla="*/ 112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112">
                  <a:moveTo>
                    <a:pt x="0" y="112"/>
                  </a:moveTo>
                  <a:lnTo>
                    <a:pt x="0" y="112"/>
                  </a:lnTo>
                  <a:lnTo>
                    <a:pt x="0" y="112"/>
                  </a:lnTo>
                  <a:cubicBezTo>
                    <a:pt x="24" y="111"/>
                    <a:pt x="48" y="110"/>
                    <a:pt x="73" y="110"/>
                  </a:cubicBezTo>
                  <a:lnTo>
                    <a:pt x="73" y="0"/>
                  </a:lnTo>
                  <a:cubicBezTo>
                    <a:pt x="52" y="0"/>
                    <a:pt x="31" y="0"/>
                    <a:pt x="10" y="1"/>
                  </a:cubicBezTo>
                  <a:lnTo>
                    <a:pt x="10" y="1"/>
                  </a:lnTo>
                  <a:lnTo>
                    <a:pt x="0" y="1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74" name="Freeform 45">
              <a:extLst>
                <a:ext uri="{FF2B5EF4-FFF2-40B4-BE49-F238E27FC236}">
                  <a16:creationId xmlns:a16="http://schemas.microsoft.com/office/drawing/2014/main" id="{BA9E821B-46D2-4AF1-BC71-2BCF59AA16CF}"/>
                </a:ext>
              </a:extLst>
            </p:cNvPr>
            <p:cNvSpPr>
              <a:spLocks/>
            </p:cNvSpPr>
            <p:nvPr/>
          </p:nvSpPr>
          <p:spPr bwMode="auto">
            <a:xfrm>
              <a:off x="1377" y="2186"/>
              <a:ext cx="204" cy="93"/>
            </a:xfrm>
            <a:custGeom>
              <a:avLst/>
              <a:gdLst>
                <a:gd name="T0" fmla="*/ 0 w 341"/>
                <a:gd name="T1" fmla="*/ 45 h 155"/>
                <a:gd name="T2" fmla="*/ 0 w 341"/>
                <a:gd name="T3" fmla="*/ 45 h 155"/>
                <a:gd name="T4" fmla="*/ 0 w 341"/>
                <a:gd name="T5" fmla="*/ 155 h 155"/>
                <a:gd name="T6" fmla="*/ 331 w 341"/>
                <a:gd name="T7" fmla="*/ 110 h 155"/>
                <a:gd name="T8" fmla="*/ 341 w 341"/>
                <a:gd name="T9" fmla="*/ 0 h 155"/>
                <a:gd name="T10" fmla="*/ 0 w 341"/>
                <a:gd name="T11" fmla="*/ 45 h 155"/>
              </a:gdLst>
              <a:ahLst/>
              <a:cxnLst>
                <a:cxn ang="0">
                  <a:pos x="T0" y="T1"/>
                </a:cxn>
                <a:cxn ang="0">
                  <a:pos x="T2" y="T3"/>
                </a:cxn>
                <a:cxn ang="0">
                  <a:pos x="T4" y="T5"/>
                </a:cxn>
                <a:cxn ang="0">
                  <a:pos x="T6" y="T7"/>
                </a:cxn>
                <a:cxn ang="0">
                  <a:pos x="T8" y="T9"/>
                </a:cxn>
                <a:cxn ang="0">
                  <a:pos x="T10" y="T11"/>
                </a:cxn>
              </a:cxnLst>
              <a:rect l="0" t="0" r="r" b="b"/>
              <a:pathLst>
                <a:path w="341" h="155">
                  <a:moveTo>
                    <a:pt x="0" y="45"/>
                  </a:moveTo>
                  <a:lnTo>
                    <a:pt x="0" y="45"/>
                  </a:lnTo>
                  <a:lnTo>
                    <a:pt x="0" y="155"/>
                  </a:lnTo>
                  <a:cubicBezTo>
                    <a:pt x="101" y="126"/>
                    <a:pt x="214" y="111"/>
                    <a:pt x="331" y="110"/>
                  </a:cubicBezTo>
                  <a:lnTo>
                    <a:pt x="341" y="0"/>
                  </a:lnTo>
                  <a:cubicBezTo>
                    <a:pt x="221" y="0"/>
                    <a:pt x="104" y="16"/>
                    <a:pt x="0" y="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75" name="Freeform 46">
              <a:extLst>
                <a:ext uri="{FF2B5EF4-FFF2-40B4-BE49-F238E27FC236}">
                  <a16:creationId xmlns:a16="http://schemas.microsoft.com/office/drawing/2014/main" id="{BF0F451F-C568-4C07-B66F-8B880CDFA37D}"/>
                </a:ext>
              </a:extLst>
            </p:cNvPr>
            <p:cNvSpPr>
              <a:spLocks/>
            </p:cNvSpPr>
            <p:nvPr/>
          </p:nvSpPr>
          <p:spPr bwMode="auto">
            <a:xfrm>
              <a:off x="1569" y="2252"/>
              <a:ext cx="24" cy="66"/>
            </a:xfrm>
            <a:custGeom>
              <a:avLst/>
              <a:gdLst>
                <a:gd name="T0" fmla="*/ 11 w 41"/>
                <a:gd name="T1" fmla="*/ 0 h 110"/>
                <a:gd name="T2" fmla="*/ 11 w 41"/>
                <a:gd name="T3" fmla="*/ 0 h 110"/>
                <a:gd name="T4" fmla="*/ 11 w 41"/>
                <a:gd name="T5" fmla="*/ 0 h 110"/>
                <a:gd name="T6" fmla="*/ 0 w 41"/>
                <a:gd name="T7" fmla="*/ 110 h 110"/>
                <a:gd name="T8" fmla="*/ 0 w 41"/>
                <a:gd name="T9" fmla="*/ 110 h 110"/>
                <a:gd name="T10" fmla="*/ 21 w 41"/>
                <a:gd name="T11" fmla="*/ 110 h 110"/>
                <a:gd name="T12" fmla="*/ 41 w 41"/>
                <a:gd name="T13" fmla="*/ 110 h 110"/>
                <a:gd name="T14" fmla="*/ 41 w 41"/>
                <a:gd name="T15" fmla="*/ 110 h 110"/>
                <a:gd name="T16" fmla="*/ 31 w 41"/>
                <a:gd name="T17" fmla="*/ 0 h 110"/>
                <a:gd name="T18" fmla="*/ 31 w 41"/>
                <a:gd name="T19" fmla="*/ 0 h 110"/>
                <a:gd name="T20" fmla="*/ 21 w 41"/>
                <a:gd name="T21" fmla="*/ 0 h 110"/>
                <a:gd name="T22" fmla="*/ 11 w 41"/>
                <a:gd name="T23"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110">
                  <a:moveTo>
                    <a:pt x="11" y="0"/>
                  </a:moveTo>
                  <a:lnTo>
                    <a:pt x="11" y="0"/>
                  </a:lnTo>
                  <a:lnTo>
                    <a:pt x="11" y="0"/>
                  </a:lnTo>
                  <a:lnTo>
                    <a:pt x="0" y="110"/>
                  </a:lnTo>
                  <a:lnTo>
                    <a:pt x="0" y="110"/>
                  </a:lnTo>
                  <a:cubicBezTo>
                    <a:pt x="7" y="110"/>
                    <a:pt x="14" y="110"/>
                    <a:pt x="21" y="110"/>
                  </a:cubicBezTo>
                  <a:cubicBezTo>
                    <a:pt x="28" y="110"/>
                    <a:pt x="34" y="110"/>
                    <a:pt x="41" y="110"/>
                  </a:cubicBezTo>
                  <a:lnTo>
                    <a:pt x="41" y="110"/>
                  </a:lnTo>
                  <a:lnTo>
                    <a:pt x="31" y="0"/>
                  </a:lnTo>
                  <a:lnTo>
                    <a:pt x="31" y="0"/>
                  </a:lnTo>
                  <a:cubicBezTo>
                    <a:pt x="28" y="0"/>
                    <a:pt x="24" y="0"/>
                    <a:pt x="21" y="0"/>
                  </a:cubicBezTo>
                  <a:cubicBezTo>
                    <a:pt x="17" y="0"/>
                    <a:pt x="14" y="0"/>
                    <a:pt x="1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76" name="Freeform 47">
              <a:extLst>
                <a:ext uri="{FF2B5EF4-FFF2-40B4-BE49-F238E27FC236}">
                  <a16:creationId xmlns:a16="http://schemas.microsoft.com/office/drawing/2014/main" id="{BDE5D147-D1C1-4EDE-A2E6-7DF8810DDF3D}"/>
                </a:ext>
              </a:extLst>
            </p:cNvPr>
            <p:cNvSpPr>
              <a:spLocks/>
            </p:cNvSpPr>
            <p:nvPr/>
          </p:nvSpPr>
          <p:spPr bwMode="auto">
            <a:xfrm>
              <a:off x="1377" y="2318"/>
              <a:ext cx="192" cy="93"/>
            </a:xfrm>
            <a:custGeom>
              <a:avLst/>
              <a:gdLst>
                <a:gd name="T0" fmla="*/ 0 w 320"/>
                <a:gd name="T1" fmla="*/ 156 h 156"/>
                <a:gd name="T2" fmla="*/ 0 w 320"/>
                <a:gd name="T3" fmla="*/ 156 h 156"/>
                <a:gd name="T4" fmla="*/ 310 w 320"/>
                <a:gd name="T5" fmla="*/ 110 h 156"/>
                <a:gd name="T6" fmla="*/ 320 w 320"/>
                <a:gd name="T7" fmla="*/ 0 h 156"/>
                <a:gd name="T8" fmla="*/ 0 w 320"/>
                <a:gd name="T9" fmla="*/ 46 h 156"/>
                <a:gd name="T10" fmla="*/ 0 w 320"/>
                <a:gd name="T11" fmla="*/ 156 h 156"/>
              </a:gdLst>
              <a:ahLst/>
              <a:cxnLst>
                <a:cxn ang="0">
                  <a:pos x="T0" y="T1"/>
                </a:cxn>
                <a:cxn ang="0">
                  <a:pos x="T2" y="T3"/>
                </a:cxn>
                <a:cxn ang="0">
                  <a:pos x="T4" y="T5"/>
                </a:cxn>
                <a:cxn ang="0">
                  <a:pos x="T6" y="T7"/>
                </a:cxn>
                <a:cxn ang="0">
                  <a:pos x="T8" y="T9"/>
                </a:cxn>
                <a:cxn ang="0">
                  <a:pos x="T10" y="T11"/>
                </a:cxn>
              </a:cxnLst>
              <a:rect l="0" t="0" r="r" b="b"/>
              <a:pathLst>
                <a:path w="320" h="156">
                  <a:moveTo>
                    <a:pt x="0" y="156"/>
                  </a:moveTo>
                  <a:lnTo>
                    <a:pt x="0" y="156"/>
                  </a:lnTo>
                  <a:cubicBezTo>
                    <a:pt x="95" y="128"/>
                    <a:pt x="201" y="113"/>
                    <a:pt x="310" y="110"/>
                  </a:cubicBezTo>
                  <a:lnTo>
                    <a:pt x="320" y="0"/>
                  </a:lnTo>
                  <a:cubicBezTo>
                    <a:pt x="208" y="2"/>
                    <a:pt x="98" y="17"/>
                    <a:pt x="0" y="46"/>
                  </a:cubicBezTo>
                  <a:lnTo>
                    <a:pt x="0" y="15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77" name="Freeform 48">
              <a:extLst>
                <a:ext uri="{FF2B5EF4-FFF2-40B4-BE49-F238E27FC236}">
                  <a16:creationId xmlns:a16="http://schemas.microsoft.com/office/drawing/2014/main" id="{529BA29D-AB11-40B2-9D75-7DD854E2D0DF}"/>
                </a:ext>
              </a:extLst>
            </p:cNvPr>
            <p:cNvSpPr>
              <a:spLocks/>
            </p:cNvSpPr>
            <p:nvPr/>
          </p:nvSpPr>
          <p:spPr bwMode="auto">
            <a:xfrm>
              <a:off x="1581" y="2186"/>
              <a:ext cx="205" cy="93"/>
            </a:xfrm>
            <a:custGeom>
              <a:avLst/>
              <a:gdLst>
                <a:gd name="T0" fmla="*/ 341 w 341"/>
                <a:gd name="T1" fmla="*/ 45 h 155"/>
                <a:gd name="T2" fmla="*/ 341 w 341"/>
                <a:gd name="T3" fmla="*/ 45 h 155"/>
                <a:gd name="T4" fmla="*/ 0 w 341"/>
                <a:gd name="T5" fmla="*/ 0 h 155"/>
                <a:gd name="T6" fmla="*/ 10 w 341"/>
                <a:gd name="T7" fmla="*/ 110 h 155"/>
                <a:gd name="T8" fmla="*/ 341 w 341"/>
                <a:gd name="T9" fmla="*/ 155 h 155"/>
                <a:gd name="T10" fmla="*/ 341 w 341"/>
                <a:gd name="T11" fmla="*/ 45 h 155"/>
              </a:gdLst>
              <a:ahLst/>
              <a:cxnLst>
                <a:cxn ang="0">
                  <a:pos x="T0" y="T1"/>
                </a:cxn>
                <a:cxn ang="0">
                  <a:pos x="T2" y="T3"/>
                </a:cxn>
                <a:cxn ang="0">
                  <a:pos x="T4" y="T5"/>
                </a:cxn>
                <a:cxn ang="0">
                  <a:pos x="T6" y="T7"/>
                </a:cxn>
                <a:cxn ang="0">
                  <a:pos x="T8" y="T9"/>
                </a:cxn>
                <a:cxn ang="0">
                  <a:pos x="T10" y="T11"/>
                </a:cxn>
              </a:cxnLst>
              <a:rect l="0" t="0" r="r" b="b"/>
              <a:pathLst>
                <a:path w="341" h="155">
                  <a:moveTo>
                    <a:pt x="341" y="45"/>
                  </a:moveTo>
                  <a:lnTo>
                    <a:pt x="341" y="45"/>
                  </a:lnTo>
                  <a:cubicBezTo>
                    <a:pt x="237" y="16"/>
                    <a:pt x="119" y="0"/>
                    <a:pt x="0" y="0"/>
                  </a:cubicBezTo>
                  <a:lnTo>
                    <a:pt x="10" y="110"/>
                  </a:lnTo>
                  <a:cubicBezTo>
                    <a:pt x="126" y="111"/>
                    <a:pt x="240" y="126"/>
                    <a:pt x="341" y="155"/>
                  </a:cubicBezTo>
                  <a:lnTo>
                    <a:pt x="341" y="4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78" name="Freeform 49">
              <a:extLst>
                <a:ext uri="{FF2B5EF4-FFF2-40B4-BE49-F238E27FC236}">
                  <a16:creationId xmlns:a16="http://schemas.microsoft.com/office/drawing/2014/main" id="{D7E57275-4F02-4E8C-9C12-08D2A68ADBCC}"/>
                </a:ext>
              </a:extLst>
            </p:cNvPr>
            <p:cNvSpPr>
              <a:spLocks/>
            </p:cNvSpPr>
            <p:nvPr/>
          </p:nvSpPr>
          <p:spPr bwMode="auto">
            <a:xfrm>
              <a:off x="1377" y="2583"/>
              <a:ext cx="167" cy="92"/>
            </a:xfrm>
            <a:custGeom>
              <a:avLst/>
              <a:gdLst>
                <a:gd name="T0" fmla="*/ 0 w 279"/>
                <a:gd name="T1" fmla="*/ 154 h 154"/>
                <a:gd name="T2" fmla="*/ 0 w 279"/>
                <a:gd name="T3" fmla="*/ 154 h 154"/>
                <a:gd name="T4" fmla="*/ 269 w 279"/>
                <a:gd name="T5" fmla="*/ 110 h 154"/>
                <a:gd name="T6" fmla="*/ 279 w 279"/>
                <a:gd name="T7" fmla="*/ 0 h 154"/>
                <a:gd name="T8" fmla="*/ 0 w 279"/>
                <a:gd name="T9" fmla="*/ 44 h 154"/>
                <a:gd name="T10" fmla="*/ 0 w 279"/>
                <a:gd name="T11" fmla="*/ 154 h 154"/>
              </a:gdLst>
              <a:ahLst/>
              <a:cxnLst>
                <a:cxn ang="0">
                  <a:pos x="T0" y="T1"/>
                </a:cxn>
                <a:cxn ang="0">
                  <a:pos x="T2" y="T3"/>
                </a:cxn>
                <a:cxn ang="0">
                  <a:pos x="T4" y="T5"/>
                </a:cxn>
                <a:cxn ang="0">
                  <a:pos x="T6" y="T7"/>
                </a:cxn>
                <a:cxn ang="0">
                  <a:pos x="T8" y="T9"/>
                </a:cxn>
                <a:cxn ang="0">
                  <a:pos x="T10" y="T11"/>
                </a:cxn>
              </a:cxnLst>
              <a:rect l="0" t="0" r="r" b="b"/>
              <a:pathLst>
                <a:path w="279" h="154">
                  <a:moveTo>
                    <a:pt x="0" y="154"/>
                  </a:moveTo>
                  <a:lnTo>
                    <a:pt x="0" y="154"/>
                  </a:lnTo>
                  <a:cubicBezTo>
                    <a:pt x="83" y="130"/>
                    <a:pt x="174" y="115"/>
                    <a:pt x="269" y="110"/>
                  </a:cubicBezTo>
                  <a:lnTo>
                    <a:pt x="279" y="0"/>
                  </a:lnTo>
                  <a:cubicBezTo>
                    <a:pt x="181" y="4"/>
                    <a:pt x="86" y="19"/>
                    <a:pt x="0" y="44"/>
                  </a:cubicBezTo>
                  <a:lnTo>
                    <a:pt x="0" y="15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79" name="Freeform 50">
              <a:extLst>
                <a:ext uri="{FF2B5EF4-FFF2-40B4-BE49-F238E27FC236}">
                  <a16:creationId xmlns:a16="http://schemas.microsoft.com/office/drawing/2014/main" id="{3C1C5129-8CAB-4AAA-B5D4-8E35397E91A6}"/>
                </a:ext>
              </a:extLst>
            </p:cNvPr>
            <p:cNvSpPr>
              <a:spLocks/>
            </p:cNvSpPr>
            <p:nvPr/>
          </p:nvSpPr>
          <p:spPr bwMode="auto">
            <a:xfrm>
              <a:off x="1544" y="2516"/>
              <a:ext cx="32" cy="67"/>
            </a:xfrm>
            <a:custGeom>
              <a:avLst/>
              <a:gdLst>
                <a:gd name="T0" fmla="*/ 0 w 53"/>
                <a:gd name="T1" fmla="*/ 112 h 112"/>
                <a:gd name="T2" fmla="*/ 0 w 53"/>
                <a:gd name="T3" fmla="*/ 112 h 112"/>
                <a:gd name="T4" fmla="*/ 0 w 53"/>
                <a:gd name="T5" fmla="*/ 112 h 112"/>
                <a:gd name="T6" fmla="*/ 53 w 53"/>
                <a:gd name="T7" fmla="*/ 110 h 112"/>
                <a:gd name="T8" fmla="*/ 53 w 53"/>
                <a:gd name="T9" fmla="*/ 0 h 112"/>
                <a:gd name="T10" fmla="*/ 11 w 53"/>
                <a:gd name="T11" fmla="*/ 1 h 112"/>
                <a:gd name="T12" fmla="*/ 11 w 53"/>
                <a:gd name="T13" fmla="*/ 1 h 112"/>
                <a:gd name="T14" fmla="*/ 0 w 53"/>
                <a:gd name="T15" fmla="*/ 112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112">
                  <a:moveTo>
                    <a:pt x="0" y="112"/>
                  </a:moveTo>
                  <a:lnTo>
                    <a:pt x="0" y="112"/>
                  </a:lnTo>
                  <a:lnTo>
                    <a:pt x="0" y="112"/>
                  </a:lnTo>
                  <a:cubicBezTo>
                    <a:pt x="18" y="111"/>
                    <a:pt x="35" y="111"/>
                    <a:pt x="53" y="110"/>
                  </a:cubicBezTo>
                  <a:lnTo>
                    <a:pt x="53" y="0"/>
                  </a:lnTo>
                  <a:cubicBezTo>
                    <a:pt x="39" y="0"/>
                    <a:pt x="25" y="1"/>
                    <a:pt x="11" y="1"/>
                  </a:cubicBezTo>
                  <a:lnTo>
                    <a:pt x="11" y="1"/>
                  </a:lnTo>
                  <a:lnTo>
                    <a:pt x="0" y="1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80" name="Freeform 51">
              <a:extLst>
                <a:ext uri="{FF2B5EF4-FFF2-40B4-BE49-F238E27FC236}">
                  <a16:creationId xmlns:a16="http://schemas.microsoft.com/office/drawing/2014/main" id="{D67F634A-B6EA-41A5-8313-E97FB17947BA}"/>
                </a:ext>
              </a:extLst>
            </p:cNvPr>
            <p:cNvSpPr>
              <a:spLocks/>
            </p:cNvSpPr>
            <p:nvPr/>
          </p:nvSpPr>
          <p:spPr bwMode="auto">
            <a:xfrm>
              <a:off x="1377" y="2450"/>
              <a:ext cx="180" cy="93"/>
            </a:xfrm>
            <a:custGeom>
              <a:avLst/>
              <a:gdLst>
                <a:gd name="T0" fmla="*/ 0 w 300"/>
                <a:gd name="T1" fmla="*/ 155 h 155"/>
                <a:gd name="T2" fmla="*/ 0 w 300"/>
                <a:gd name="T3" fmla="*/ 155 h 155"/>
                <a:gd name="T4" fmla="*/ 290 w 300"/>
                <a:gd name="T5" fmla="*/ 110 h 155"/>
                <a:gd name="T6" fmla="*/ 300 w 300"/>
                <a:gd name="T7" fmla="*/ 0 h 155"/>
                <a:gd name="T8" fmla="*/ 0 w 300"/>
                <a:gd name="T9" fmla="*/ 45 h 155"/>
                <a:gd name="T10" fmla="*/ 0 w 300"/>
                <a:gd name="T11" fmla="*/ 155 h 155"/>
              </a:gdLst>
              <a:ahLst/>
              <a:cxnLst>
                <a:cxn ang="0">
                  <a:pos x="T0" y="T1"/>
                </a:cxn>
                <a:cxn ang="0">
                  <a:pos x="T2" y="T3"/>
                </a:cxn>
                <a:cxn ang="0">
                  <a:pos x="T4" y="T5"/>
                </a:cxn>
                <a:cxn ang="0">
                  <a:pos x="T6" y="T7"/>
                </a:cxn>
                <a:cxn ang="0">
                  <a:pos x="T8" y="T9"/>
                </a:cxn>
                <a:cxn ang="0">
                  <a:pos x="T10" y="T11"/>
                </a:cxn>
              </a:cxnLst>
              <a:rect l="0" t="0" r="r" b="b"/>
              <a:pathLst>
                <a:path w="300" h="155">
                  <a:moveTo>
                    <a:pt x="0" y="155"/>
                  </a:moveTo>
                  <a:lnTo>
                    <a:pt x="0" y="155"/>
                  </a:lnTo>
                  <a:cubicBezTo>
                    <a:pt x="89" y="129"/>
                    <a:pt x="188" y="114"/>
                    <a:pt x="290" y="110"/>
                  </a:cubicBezTo>
                  <a:lnTo>
                    <a:pt x="300" y="0"/>
                  </a:lnTo>
                  <a:cubicBezTo>
                    <a:pt x="194" y="3"/>
                    <a:pt x="92" y="18"/>
                    <a:pt x="0" y="45"/>
                  </a:cubicBezTo>
                  <a:lnTo>
                    <a:pt x="0" y="15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81" name="Freeform 52">
              <a:extLst>
                <a:ext uri="{FF2B5EF4-FFF2-40B4-BE49-F238E27FC236}">
                  <a16:creationId xmlns:a16="http://schemas.microsoft.com/office/drawing/2014/main" id="{220A67B7-D722-41EB-8182-1DBFD5E17FE5}"/>
                </a:ext>
              </a:extLst>
            </p:cNvPr>
            <p:cNvSpPr>
              <a:spLocks/>
            </p:cNvSpPr>
            <p:nvPr/>
          </p:nvSpPr>
          <p:spPr bwMode="auto">
            <a:xfrm>
              <a:off x="1557" y="2384"/>
              <a:ext cx="19" cy="66"/>
            </a:xfrm>
            <a:custGeom>
              <a:avLst/>
              <a:gdLst>
                <a:gd name="T0" fmla="*/ 0 w 32"/>
                <a:gd name="T1" fmla="*/ 111 h 111"/>
                <a:gd name="T2" fmla="*/ 0 w 32"/>
                <a:gd name="T3" fmla="*/ 111 h 111"/>
                <a:gd name="T4" fmla="*/ 0 w 32"/>
                <a:gd name="T5" fmla="*/ 111 h 111"/>
                <a:gd name="T6" fmla="*/ 32 w 32"/>
                <a:gd name="T7" fmla="*/ 110 h 111"/>
                <a:gd name="T8" fmla="*/ 32 w 32"/>
                <a:gd name="T9" fmla="*/ 0 h 111"/>
                <a:gd name="T10" fmla="*/ 10 w 32"/>
                <a:gd name="T11" fmla="*/ 0 h 111"/>
                <a:gd name="T12" fmla="*/ 10 w 32"/>
                <a:gd name="T13" fmla="*/ 0 h 111"/>
                <a:gd name="T14" fmla="*/ 0 w 32"/>
                <a:gd name="T15" fmla="*/ 111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1">
                  <a:moveTo>
                    <a:pt x="0" y="111"/>
                  </a:moveTo>
                  <a:lnTo>
                    <a:pt x="0" y="111"/>
                  </a:lnTo>
                  <a:lnTo>
                    <a:pt x="0" y="111"/>
                  </a:lnTo>
                  <a:cubicBezTo>
                    <a:pt x="10" y="111"/>
                    <a:pt x="21" y="110"/>
                    <a:pt x="32" y="110"/>
                  </a:cubicBezTo>
                  <a:lnTo>
                    <a:pt x="32" y="0"/>
                  </a:lnTo>
                  <a:cubicBezTo>
                    <a:pt x="24" y="0"/>
                    <a:pt x="17" y="0"/>
                    <a:pt x="10" y="0"/>
                  </a:cubicBezTo>
                  <a:lnTo>
                    <a:pt x="10" y="0"/>
                  </a:lnTo>
                  <a:lnTo>
                    <a:pt x="0" y="11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82" name="Freeform 53">
              <a:extLst>
                <a:ext uri="{FF2B5EF4-FFF2-40B4-BE49-F238E27FC236}">
                  <a16:creationId xmlns:a16="http://schemas.microsoft.com/office/drawing/2014/main" id="{00D9D3B3-5BA5-43DA-80ED-503825C66D87}"/>
                </a:ext>
              </a:extLst>
            </p:cNvPr>
            <p:cNvSpPr>
              <a:spLocks/>
            </p:cNvSpPr>
            <p:nvPr/>
          </p:nvSpPr>
          <p:spPr bwMode="auto">
            <a:xfrm>
              <a:off x="1377" y="3249"/>
              <a:ext cx="106" cy="87"/>
            </a:xfrm>
            <a:custGeom>
              <a:avLst/>
              <a:gdLst>
                <a:gd name="T0" fmla="*/ 0 w 176"/>
                <a:gd name="T1" fmla="*/ 146 h 146"/>
                <a:gd name="T2" fmla="*/ 0 w 176"/>
                <a:gd name="T3" fmla="*/ 146 h 146"/>
                <a:gd name="T4" fmla="*/ 166 w 176"/>
                <a:gd name="T5" fmla="*/ 112 h 146"/>
                <a:gd name="T6" fmla="*/ 176 w 176"/>
                <a:gd name="T7" fmla="*/ 0 h 146"/>
                <a:gd name="T8" fmla="*/ 0 w 176"/>
                <a:gd name="T9" fmla="*/ 36 h 146"/>
                <a:gd name="T10" fmla="*/ 0 w 176"/>
                <a:gd name="T11" fmla="*/ 146 h 146"/>
              </a:gdLst>
              <a:ahLst/>
              <a:cxnLst>
                <a:cxn ang="0">
                  <a:pos x="T0" y="T1"/>
                </a:cxn>
                <a:cxn ang="0">
                  <a:pos x="T2" y="T3"/>
                </a:cxn>
                <a:cxn ang="0">
                  <a:pos x="T4" y="T5"/>
                </a:cxn>
                <a:cxn ang="0">
                  <a:pos x="T6" y="T7"/>
                </a:cxn>
                <a:cxn ang="0">
                  <a:pos x="T8" y="T9"/>
                </a:cxn>
                <a:cxn ang="0">
                  <a:pos x="T10" y="T11"/>
                </a:cxn>
              </a:cxnLst>
              <a:rect l="0" t="0" r="r" b="b"/>
              <a:pathLst>
                <a:path w="176" h="146">
                  <a:moveTo>
                    <a:pt x="0" y="146"/>
                  </a:moveTo>
                  <a:lnTo>
                    <a:pt x="0" y="146"/>
                  </a:lnTo>
                  <a:cubicBezTo>
                    <a:pt x="52" y="131"/>
                    <a:pt x="108" y="119"/>
                    <a:pt x="166" y="112"/>
                  </a:cubicBezTo>
                  <a:lnTo>
                    <a:pt x="176" y="0"/>
                  </a:lnTo>
                  <a:cubicBezTo>
                    <a:pt x="115" y="8"/>
                    <a:pt x="55" y="20"/>
                    <a:pt x="0" y="36"/>
                  </a:cubicBezTo>
                  <a:lnTo>
                    <a:pt x="0" y="14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83" name="Freeform 54">
              <a:extLst>
                <a:ext uri="{FF2B5EF4-FFF2-40B4-BE49-F238E27FC236}">
                  <a16:creationId xmlns:a16="http://schemas.microsoft.com/office/drawing/2014/main" id="{57C89FE5-244F-4571-BF82-8A92DD8E5C60}"/>
                </a:ext>
              </a:extLst>
            </p:cNvPr>
            <p:cNvSpPr>
              <a:spLocks/>
            </p:cNvSpPr>
            <p:nvPr/>
          </p:nvSpPr>
          <p:spPr bwMode="auto">
            <a:xfrm>
              <a:off x="1377" y="3920"/>
              <a:ext cx="44" cy="77"/>
            </a:xfrm>
            <a:custGeom>
              <a:avLst/>
              <a:gdLst>
                <a:gd name="T0" fmla="*/ 0 w 73"/>
                <a:gd name="T1" fmla="*/ 128 h 128"/>
                <a:gd name="T2" fmla="*/ 0 w 73"/>
                <a:gd name="T3" fmla="*/ 128 h 128"/>
                <a:gd name="T4" fmla="*/ 62 w 73"/>
                <a:gd name="T5" fmla="*/ 112 h 128"/>
                <a:gd name="T6" fmla="*/ 73 w 73"/>
                <a:gd name="T7" fmla="*/ 0 h 128"/>
                <a:gd name="T8" fmla="*/ 0 w 73"/>
                <a:gd name="T9" fmla="*/ 18 h 128"/>
                <a:gd name="T10" fmla="*/ 0 w 73"/>
                <a:gd name="T11" fmla="*/ 128 h 128"/>
              </a:gdLst>
              <a:ahLst/>
              <a:cxnLst>
                <a:cxn ang="0">
                  <a:pos x="T0" y="T1"/>
                </a:cxn>
                <a:cxn ang="0">
                  <a:pos x="T2" y="T3"/>
                </a:cxn>
                <a:cxn ang="0">
                  <a:pos x="T4" y="T5"/>
                </a:cxn>
                <a:cxn ang="0">
                  <a:pos x="T6" y="T7"/>
                </a:cxn>
                <a:cxn ang="0">
                  <a:pos x="T8" y="T9"/>
                </a:cxn>
                <a:cxn ang="0">
                  <a:pos x="T10" y="T11"/>
                </a:cxn>
              </a:cxnLst>
              <a:rect l="0" t="0" r="r" b="b"/>
              <a:pathLst>
                <a:path w="73" h="128">
                  <a:moveTo>
                    <a:pt x="0" y="128"/>
                  </a:moveTo>
                  <a:lnTo>
                    <a:pt x="0" y="128"/>
                  </a:lnTo>
                  <a:cubicBezTo>
                    <a:pt x="20" y="122"/>
                    <a:pt x="41" y="117"/>
                    <a:pt x="62" y="112"/>
                  </a:cubicBezTo>
                  <a:lnTo>
                    <a:pt x="73" y="0"/>
                  </a:lnTo>
                  <a:cubicBezTo>
                    <a:pt x="48" y="5"/>
                    <a:pt x="23" y="11"/>
                    <a:pt x="0" y="18"/>
                  </a:cubicBezTo>
                  <a:lnTo>
                    <a:pt x="0" y="1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84" name="Freeform 55">
              <a:extLst>
                <a:ext uri="{FF2B5EF4-FFF2-40B4-BE49-F238E27FC236}">
                  <a16:creationId xmlns:a16="http://schemas.microsoft.com/office/drawing/2014/main" id="{3309B5BE-FC51-49D2-B438-5A6E4BC4A6F2}"/>
                </a:ext>
              </a:extLst>
            </p:cNvPr>
            <p:cNvSpPr>
              <a:spLocks/>
            </p:cNvSpPr>
            <p:nvPr/>
          </p:nvSpPr>
          <p:spPr bwMode="auto">
            <a:xfrm>
              <a:off x="1408" y="3969"/>
              <a:ext cx="168" cy="86"/>
            </a:xfrm>
            <a:custGeom>
              <a:avLst/>
              <a:gdLst>
                <a:gd name="T0" fmla="*/ 0 w 280"/>
                <a:gd name="T1" fmla="*/ 142 h 143"/>
                <a:gd name="T2" fmla="*/ 0 w 280"/>
                <a:gd name="T3" fmla="*/ 142 h 143"/>
                <a:gd name="T4" fmla="*/ 0 w 280"/>
                <a:gd name="T5" fmla="*/ 143 h 143"/>
                <a:gd name="T6" fmla="*/ 280 w 280"/>
                <a:gd name="T7" fmla="*/ 111 h 143"/>
                <a:gd name="T8" fmla="*/ 280 w 280"/>
                <a:gd name="T9" fmla="*/ 0 h 143"/>
                <a:gd name="T10" fmla="*/ 10 w 280"/>
                <a:gd name="T11" fmla="*/ 30 h 143"/>
                <a:gd name="T12" fmla="*/ 10 w 280"/>
                <a:gd name="T13" fmla="*/ 30 h 143"/>
                <a:gd name="T14" fmla="*/ 0 w 280"/>
                <a:gd name="T15" fmla="*/ 142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0" h="143">
                  <a:moveTo>
                    <a:pt x="0" y="142"/>
                  </a:moveTo>
                  <a:lnTo>
                    <a:pt x="0" y="142"/>
                  </a:lnTo>
                  <a:lnTo>
                    <a:pt x="0" y="143"/>
                  </a:lnTo>
                  <a:cubicBezTo>
                    <a:pt x="87" y="122"/>
                    <a:pt x="183" y="111"/>
                    <a:pt x="280" y="111"/>
                  </a:cubicBezTo>
                  <a:lnTo>
                    <a:pt x="280" y="0"/>
                  </a:lnTo>
                  <a:cubicBezTo>
                    <a:pt x="187" y="1"/>
                    <a:pt x="95" y="11"/>
                    <a:pt x="10" y="30"/>
                  </a:cubicBezTo>
                  <a:lnTo>
                    <a:pt x="10" y="30"/>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85" name="Freeform 56">
              <a:extLst>
                <a:ext uri="{FF2B5EF4-FFF2-40B4-BE49-F238E27FC236}">
                  <a16:creationId xmlns:a16="http://schemas.microsoft.com/office/drawing/2014/main" id="{C5A105C6-11BF-46E1-A4DB-8F80C33EB039}"/>
                </a:ext>
              </a:extLst>
            </p:cNvPr>
            <p:cNvSpPr>
              <a:spLocks/>
            </p:cNvSpPr>
            <p:nvPr/>
          </p:nvSpPr>
          <p:spPr bwMode="auto">
            <a:xfrm>
              <a:off x="1421" y="3837"/>
              <a:ext cx="155" cy="83"/>
            </a:xfrm>
            <a:custGeom>
              <a:avLst/>
              <a:gdLst>
                <a:gd name="T0" fmla="*/ 0 w 259"/>
                <a:gd name="T1" fmla="*/ 138 h 138"/>
                <a:gd name="T2" fmla="*/ 0 w 259"/>
                <a:gd name="T3" fmla="*/ 138 h 138"/>
                <a:gd name="T4" fmla="*/ 0 w 259"/>
                <a:gd name="T5" fmla="*/ 138 h 138"/>
                <a:gd name="T6" fmla="*/ 259 w 259"/>
                <a:gd name="T7" fmla="*/ 110 h 138"/>
                <a:gd name="T8" fmla="*/ 259 w 259"/>
                <a:gd name="T9" fmla="*/ 0 h 138"/>
                <a:gd name="T10" fmla="*/ 10 w 259"/>
                <a:gd name="T11" fmla="*/ 25 h 138"/>
                <a:gd name="T12" fmla="*/ 10 w 259"/>
                <a:gd name="T13" fmla="*/ 25 h 138"/>
                <a:gd name="T14" fmla="*/ 0 w 259"/>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 h="138">
                  <a:moveTo>
                    <a:pt x="0" y="138"/>
                  </a:moveTo>
                  <a:lnTo>
                    <a:pt x="0" y="138"/>
                  </a:lnTo>
                  <a:lnTo>
                    <a:pt x="0" y="138"/>
                  </a:lnTo>
                  <a:cubicBezTo>
                    <a:pt x="82" y="120"/>
                    <a:pt x="169" y="111"/>
                    <a:pt x="259" y="110"/>
                  </a:cubicBezTo>
                  <a:lnTo>
                    <a:pt x="259" y="0"/>
                  </a:lnTo>
                  <a:cubicBezTo>
                    <a:pt x="173" y="1"/>
                    <a:pt x="89" y="9"/>
                    <a:pt x="10" y="25"/>
                  </a:cubicBezTo>
                  <a:lnTo>
                    <a:pt x="10" y="25"/>
                  </a:lnTo>
                  <a:lnTo>
                    <a:pt x="0" y="13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86" name="Freeform 57">
              <a:extLst>
                <a:ext uri="{FF2B5EF4-FFF2-40B4-BE49-F238E27FC236}">
                  <a16:creationId xmlns:a16="http://schemas.microsoft.com/office/drawing/2014/main" id="{7CB95E9B-72DD-45FA-BEC7-EF280B2E15BB}"/>
                </a:ext>
              </a:extLst>
            </p:cNvPr>
            <p:cNvSpPr>
              <a:spLocks/>
            </p:cNvSpPr>
            <p:nvPr/>
          </p:nvSpPr>
          <p:spPr bwMode="auto">
            <a:xfrm>
              <a:off x="1377" y="4055"/>
              <a:ext cx="31" cy="74"/>
            </a:xfrm>
            <a:custGeom>
              <a:avLst/>
              <a:gdLst>
                <a:gd name="T0" fmla="*/ 0 w 52"/>
                <a:gd name="T1" fmla="*/ 123 h 123"/>
                <a:gd name="T2" fmla="*/ 0 w 52"/>
                <a:gd name="T3" fmla="*/ 123 h 123"/>
                <a:gd name="T4" fmla="*/ 41 w 52"/>
                <a:gd name="T5" fmla="*/ 112 h 123"/>
                <a:gd name="T6" fmla="*/ 52 w 52"/>
                <a:gd name="T7" fmla="*/ 0 h 123"/>
                <a:gd name="T8" fmla="*/ 0 w 52"/>
                <a:gd name="T9" fmla="*/ 13 h 123"/>
                <a:gd name="T10" fmla="*/ 0 w 52"/>
                <a:gd name="T11" fmla="*/ 123 h 123"/>
              </a:gdLst>
              <a:ahLst/>
              <a:cxnLst>
                <a:cxn ang="0">
                  <a:pos x="T0" y="T1"/>
                </a:cxn>
                <a:cxn ang="0">
                  <a:pos x="T2" y="T3"/>
                </a:cxn>
                <a:cxn ang="0">
                  <a:pos x="T4" y="T5"/>
                </a:cxn>
                <a:cxn ang="0">
                  <a:pos x="T6" y="T7"/>
                </a:cxn>
                <a:cxn ang="0">
                  <a:pos x="T8" y="T9"/>
                </a:cxn>
                <a:cxn ang="0">
                  <a:pos x="T10" y="T11"/>
                </a:cxn>
              </a:cxnLst>
              <a:rect l="0" t="0" r="r" b="b"/>
              <a:pathLst>
                <a:path w="52" h="123">
                  <a:moveTo>
                    <a:pt x="0" y="123"/>
                  </a:moveTo>
                  <a:lnTo>
                    <a:pt x="0" y="123"/>
                  </a:lnTo>
                  <a:cubicBezTo>
                    <a:pt x="13" y="119"/>
                    <a:pt x="27" y="115"/>
                    <a:pt x="41" y="112"/>
                  </a:cubicBezTo>
                  <a:lnTo>
                    <a:pt x="52" y="0"/>
                  </a:lnTo>
                  <a:cubicBezTo>
                    <a:pt x="34" y="4"/>
                    <a:pt x="17" y="8"/>
                    <a:pt x="0" y="13"/>
                  </a:cubicBezTo>
                  <a:lnTo>
                    <a:pt x="0" y="12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87" name="Freeform 58">
              <a:extLst>
                <a:ext uri="{FF2B5EF4-FFF2-40B4-BE49-F238E27FC236}">
                  <a16:creationId xmlns:a16="http://schemas.microsoft.com/office/drawing/2014/main" id="{887DB809-E109-4105-8E97-484EFB9C3AA8}"/>
                </a:ext>
              </a:extLst>
            </p:cNvPr>
            <p:cNvSpPr>
              <a:spLocks/>
            </p:cNvSpPr>
            <p:nvPr/>
          </p:nvSpPr>
          <p:spPr bwMode="auto">
            <a:xfrm>
              <a:off x="1396" y="4102"/>
              <a:ext cx="180" cy="88"/>
            </a:xfrm>
            <a:custGeom>
              <a:avLst/>
              <a:gdLst>
                <a:gd name="T0" fmla="*/ 0 w 301"/>
                <a:gd name="T1" fmla="*/ 147 h 147"/>
                <a:gd name="T2" fmla="*/ 0 w 301"/>
                <a:gd name="T3" fmla="*/ 147 h 147"/>
                <a:gd name="T4" fmla="*/ 0 w 301"/>
                <a:gd name="T5" fmla="*/ 147 h 147"/>
                <a:gd name="T6" fmla="*/ 301 w 301"/>
                <a:gd name="T7" fmla="*/ 110 h 147"/>
                <a:gd name="T8" fmla="*/ 301 w 301"/>
                <a:gd name="T9" fmla="*/ 0 h 147"/>
                <a:gd name="T10" fmla="*/ 10 w 301"/>
                <a:gd name="T11" fmla="*/ 34 h 147"/>
                <a:gd name="T12" fmla="*/ 10 w 301"/>
                <a:gd name="T13" fmla="*/ 34 h 147"/>
                <a:gd name="T14" fmla="*/ 0 w 301"/>
                <a:gd name="T15" fmla="*/ 147 h 1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1" h="147">
                  <a:moveTo>
                    <a:pt x="0" y="147"/>
                  </a:moveTo>
                  <a:lnTo>
                    <a:pt x="0" y="147"/>
                  </a:lnTo>
                  <a:lnTo>
                    <a:pt x="0" y="147"/>
                  </a:lnTo>
                  <a:cubicBezTo>
                    <a:pt x="93" y="123"/>
                    <a:pt x="196" y="110"/>
                    <a:pt x="301" y="110"/>
                  </a:cubicBezTo>
                  <a:lnTo>
                    <a:pt x="301" y="0"/>
                  </a:lnTo>
                  <a:cubicBezTo>
                    <a:pt x="200" y="0"/>
                    <a:pt x="101" y="12"/>
                    <a:pt x="10" y="34"/>
                  </a:cubicBezTo>
                  <a:lnTo>
                    <a:pt x="10" y="34"/>
                  </a:lnTo>
                  <a:lnTo>
                    <a:pt x="0" y="14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88" name="Freeform 59">
              <a:extLst>
                <a:ext uri="{FF2B5EF4-FFF2-40B4-BE49-F238E27FC236}">
                  <a16:creationId xmlns:a16="http://schemas.microsoft.com/office/drawing/2014/main" id="{5CC19D04-245B-4CBA-B323-76193968A75D}"/>
                </a:ext>
              </a:extLst>
            </p:cNvPr>
            <p:cNvSpPr>
              <a:spLocks/>
            </p:cNvSpPr>
            <p:nvPr/>
          </p:nvSpPr>
          <p:spPr bwMode="auto">
            <a:xfrm>
              <a:off x="1383" y="4234"/>
              <a:ext cx="193" cy="91"/>
            </a:xfrm>
            <a:custGeom>
              <a:avLst/>
              <a:gdLst>
                <a:gd name="T0" fmla="*/ 0 w 322"/>
                <a:gd name="T1" fmla="*/ 152 h 152"/>
                <a:gd name="T2" fmla="*/ 0 w 322"/>
                <a:gd name="T3" fmla="*/ 152 h 152"/>
                <a:gd name="T4" fmla="*/ 0 w 322"/>
                <a:gd name="T5" fmla="*/ 152 h 152"/>
                <a:gd name="T6" fmla="*/ 322 w 322"/>
                <a:gd name="T7" fmla="*/ 110 h 152"/>
                <a:gd name="T8" fmla="*/ 322 w 322"/>
                <a:gd name="T9" fmla="*/ 0 h 152"/>
                <a:gd name="T10" fmla="*/ 10 w 322"/>
                <a:gd name="T11" fmla="*/ 39 h 152"/>
                <a:gd name="T12" fmla="*/ 10 w 322"/>
                <a:gd name="T13" fmla="*/ 40 h 152"/>
                <a:gd name="T14" fmla="*/ 0 w 322"/>
                <a:gd name="T15" fmla="*/ 152 h 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 h="152">
                  <a:moveTo>
                    <a:pt x="0" y="152"/>
                  </a:moveTo>
                  <a:lnTo>
                    <a:pt x="0" y="152"/>
                  </a:lnTo>
                  <a:lnTo>
                    <a:pt x="0" y="152"/>
                  </a:lnTo>
                  <a:cubicBezTo>
                    <a:pt x="99" y="125"/>
                    <a:pt x="209" y="111"/>
                    <a:pt x="322" y="110"/>
                  </a:cubicBezTo>
                  <a:lnTo>
                    <a:pt x="322" y="0"/>
                  </a:lnTo>
                  <a:cubicBezTo>
                    <a:pt x="213" y="0"/>
                    <a:pt x="107" y="14"/>
                    <a:pt x="10" y="39"/>
                  </a:cubicBezTo>
                  <a:lnTo>
                    <a:pt x="10" y="40"/>
                  </a:lnTo>
                  <a:lnTo>
                    <a:pt x="0" y="15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89" name="Freeform 60">
              <a:extLst>
                <a:ext uri="{FF2B5EF4-FFF2-40B4-BE49-F238E27FC236}">
                  <a16:creationId xmlns:a16="http://schemas.microsoft.com/office/drawing/2014/main" id="{DDFDD38A-B70C-4EDC-8F91-4344C52F973E}"/>
                </a:ext>
              </a:extLst>
            </p:cNvPr>
            <p:cNvSpPr>
              <a:spLocks/>
            </p:cNvSpPr>
            <p:nvPr/>
          </p:nvSpPr>
          <p:spPr bwMode="auto">
            <a:xfrm>
              <a:off x="1377" y="4190"/>
              <a:ext cx="19" cy="71"/>
            </a:xfrm>
            <a:custGeom>
              <a:avLst/>
              <a:gdLst>
                <a:gd name="T0" fmla="*/ 0 w 31"/>
                <a:gd name="T1" fmla="*/ 118 h 118"/>
                <a:gd name="T2" fmla="*/ 0 w 31"/>
                <a:gd name="T3" fmla="*/ 118 h 118"/>
                <a:gd name="T4" fmla="*/ 20 w 31"/>
                <a:gd name="T5" fmla="*/ 112 h 118"/>
                <a:gd name="T6" fmla="*/ 31 w 31"/>
                <a:gd name="T7" fmla="*/ 0 h 118"/>
                <a:gd name="T8" fmla="*/ 0 w 31"/>
                <a:gd name="T9" fmla="*/ 8 h 118"/>
                <a:gd name="T10" fmla="*/ 0 w 31"/>
                <a:gd name="T11" fmla="*/ 118 h 118"/>
              </a:gdLst>
              <a:ahLst/>
              <a:cxnLst>
                <a:cxn ang="0">
                  <a:pos x="T0" y="T1"/>
                </a:cxn>
                <a:cxn ang="0">
                  <a:pos x="T2" y="T3"/>
                </a:cxn>
                <a:cxn ang="0">
                  <a:pos x="T4" y="T5"/>
                </a:cxn>
                <a:cxn ang="0">
                  <a:pos x="T6" y="T7"/>
                </a:cxn>
                <a:cxn ang="0">
                  <a:pos x="T8" y="T9"/>
                </a:cxn>
                <a:cxn ang="0">
                  <a:pos x="T10" y="T11"/>
                </a:cxn>
              </a:cxnLst>
              <a:rect l="0" t="0" r="r" b="b"/>
              <a:pathLst>
                <a:path w="31" h="118">
                  <a:moveTo>
                    <a:pt x="0" y="118"/>
                  </a:moveTo>
                  <a:lnTo>
                    <a:pt x="0" y="118"/>
                  </a:lnTo>
                  <a:cubicBezTo>
                    <a:pt x="6" y="116"/>
                    <a:pt x="13" y="114"/>
                    <a:pt x="20" y="112"/>
                  </a:cubicBezTo>
                  <a:lnTo>
                    <a:pt x="31" y="0"/>
                  </a:lnTo>
                  <a:cubicBezTo>
                    <a:pt x="20" y="2"/>
                    <a:pt x="10" y="5"/>
                    <a:pt x="0" y="8"/>
                  </a:cubicBezTo>
                  <a:lnTo>
                    <a:pt x="0" y="11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90" name="Freeform 61">
              <a:extLst>
                <a:ext uri="{FF2B5EF4-FFF2-40B4-BE49-F238E27FC236}">
                  <a16:creationId xmlns:a16="http://schemas.microsoft.com/office/drawing/2014/main" id="{A4551F54-5135-4654-A98D-B02F8E802527}"/>
                </a:ext>
              </a:extLst>
            </p:cNvPr>
            <p:cNvSpPr>
              <a:spLocks/>
            </p:cNvSpPr>
            <p:nvPr/>
          </p:nvSpPr>
          <p:spPr bwMode="auto">
            <a:xfrm>
              <a:off x="1377" y="3785"/>
              <a:ext cx="56" cy="80"/>
            </a:xfrm>
            <a:custGeom>
              <a:avLst/>
              <a:gdLst>
                <a:gd name="T0" fmla="*/ 0 w 93"/>
                <a:gd name="T1" fmla="*/ 133 h 133"/>
                <a:gd name="T2" fmla="*/ 0 w 93"/>
                <a:gd name="T3" fmla="*/ 133 h 133"/>
                <a:gd name="T4" fmla="*/ 83 w 93"/>
                <a:gd name="T5" fmla="*/ 112 h 133"/>
                <a:gd name="T6" fmla="*/ 93 w 93"/>
                <a:gd name="T7" fmla="*/ 0 h 133"/>
                <a:gd name="T8" fmla="*/ 0 w 93"/>
                <a:gd name="T9" fmla="*/ 23 h 133"/>
                <a:gd name="T10" fmla="*/ 0 w 93"/>
                <a:gd name="T11" fmla="*/ 133 h 133"/>
              </a:gdLst>
              <a:ahLst/>
              <a:cxnLst>
                <a:cxn ang="0">
                  <a:pos x="T0" y="T1"/>
                </a:cxn>
                <a:cxn ang="0">
                  <a:pos x="T2" y="T3"/>
                </a:cxn>
                <a:cxn ang="0">
                  <a:pos x="T4" y="T5"/>
                </a:cxn>
                <a:cxn ang="0">
                  <a:pos x="T6" y="T7"/>
                </a:cxn>
                <a:cxn ang="0">
                  <a:pos x="T8" y="T9"/>
                </a:cxn>
                <a:cxn ang="0">
                  <a:pos x="T10" y="T11"/>
                </a:cxn>
              </a:cxnLst>
              <a:rect l="0" t="0" r="r" b="b"/>
              <a:pathLst>
                <a:path w="93" h="133">
                  <a:moveTo>
                    <a:pt x="0" y="133"/>
                  </a:moveTo>
                  <a:lnTo>
                    <a:pt x="0" y="133"/>
                  </a:lnTo>
                  <a:cubicBezTo>
                    <a:pt x="27" y="125"/>
                    <a:pt x="54" y="118"/>
                    <a:pt x="83" y="112"/>
                  </a:cubicBezTo>
                  <a:lnTo>
                    <a:pt x="93" y="0"/>
                  </a:lnTo>
                  <a:cubicBezTo>
                    <a:pt x="61" y="7"/>
                    <a:pt x="30" y="14"/>
                    <a:pt x="0" y="23"/>
                  </a:cubicBezTo>
                  <a:lnTo>
                    <a:pt x="0" y="13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91" name="Freeform 62">
              <a:extLst>
                <a:ext uri="{FF2B5EF4-FFF2-40B4-BE49-F238E27FC236}">
                  <a16:creationId xmlns:a16="http://schemas.microsoft.com/office/drawing/2014/main" id="{A9061182-2A85-48A4-BA09-99F8E66FB2A6}"/>
                </a:ext>
              </a:extLst>
            </p:cNvPr>
            <p:cNvSpPr>
              <a:spLocks/>
            </p:cNvSpPr>
            <p:nvPr/>
          </p:nvSpPr>
          <p:spPr bwMode="auto">
            <a:xfrm>
              <a:off x="1458" y="3441"/>
              <a:ext cx="118" cy="76"/>
            </a:xfrm>
            <a:custGeom>
              <a:avLst/>
              <a:gdLst>
                <a:gd name="T0" fmla="*/ 0 w 197"/>
                <a:gd name="T1" fmla="*/ 126 h 126"/>
                <a:gd name="T2" fmla="*/ 0 w 197"/>
                <a:gd name="T3" fmla="*/ 126 h 126"/>
                <a:gd name="T4" fmla="*/ 0 w 197"/>
                <a:gd name="T5" fmla="*/ 126 h 126"/>
                <a:gd name="T6" fmla="*/ 197 w 197"/>
                <a:gd name="T7" fmla="*/ 110 h 126"/>
                <a:gd name="T8" fmla="*/ 197 w 197"/>
                <a:gd name="T9" fmla="*/ 0 h 126"/>
                <a:gd name="T10" fmla="*/ 10 w 197"/>
                <a:gd name="T11" fmla="*/ 14 h 126"/>
                <a:gd name="T12" fmla="*/ 10 w 197"/>
                <a:gd name="T13" fmla="*/ 14 h 126"/>
                <a:gd name="T14" fmla="*/ 0 w 197"/>
                <a:gd name="T15" fmla="*/ 126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 h="126">
                  <a:moveTo>
                    <a:pt x="0" y="126"/>
                  </a:moveTo>
                  <a:lnTo>
                    <a:pt x="0" y="126"/>
                  </a:lnTo>
                  <a:lnTo>
                    <a:pt x="0" y="126"/>
                  </a:lnTo>
                  <a:cubicBezTo>
                    <a:pt x="63" y="116"/>
                    <a:pt x="130" y="110"/>
                    <a:pt x="197" y="110"/>
                  </a:cubicBezTo>
                  <a:lnTo>
                    <a:pt x="197" y="0"/>
                  </a:lnTo>
                  <a:cubicBezTo>
                    <a:pt x="133" y="0"/>
                    <a:pt x="71" y="5"/>
                    <a:pt x="10" y="14"/>
                  </a:cubicBezTo>
                  <a:lnTo>
                    <a:pt x="10" y="14"/>
                  </a:lnTo>
                  <a:lnTo>
                    <a:pt x="0" y="12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92" name="Freeform 63">
              <a:extLst>
                <a:ext uri="{FF2B5EF4-FFF2-40B4-BE49-F238E27FC236}">
                  <a16:creationId xmlns:a16="http://schemas.microsoft.com/office/drawing/2014/main" id="{E6479855-F1AE-47FF-9F9E-5189C4F0F665}"/>
                </a:ext>
              </a:extLst>
            </p:cNvPr>
            <p:cNvSpPr>
              <a:spLocks/>
            </p:cNvSpPr>
            <p:nvPr/>
          </p:nvSpPr>
          <p:spPr bwMode="auto">
            <a:xfrm>
              <a:off x="1433" y="3705"/>
              <a:ext cx="143" cy="80"/>
            </a:xfrm>
            <a:custGeom>
              <a:avLst/>
              <a:gdLst>
                <a:gd name="T0" fmla="*/ 0 w 239"/>
                <a:gd name="T1" fmla="*/ 133 h 133"/>
                <a:gd name="T2" fmla="*/ 0 w 239"/>
                <a:gd name="T3" fmla="*/ 133 h 133"/>
                <a:gd name="T4" fmla="*/ 0 w 239"/>
                <a:gd name="T5" fmla="*/ 133 h 133"/>
                <a:gd name="T6" fmla="*/ 239 w 239"/>
                <a:gd name="T7" fmla="*/ 110 h 133"/>
                <a:gd name="T8" fmla="*/ 239 w 239"/>
                <a:gd name="T9" fmla="*/ 0 h 133"/>
                <a:gd name="T10" fmla="*/ 11 w 239"/>
                <a:gd name="T11" fmla="*/ 21 h 133"/>
                <a:gd name="T12" fmla="*/ 11 w 239"/>
                <a:gd name="T13" fmla="*/ 21 h 133"/>
                <a:gd name="T14" fmla="*/ 0 w 239"/>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9" h="133">
                  <a:moveTo>
                    <a:pt x="0" y="133"/>
                  </a:moveTo>
                  <a:lnTo>
                    <a:pt x="0" y="133"/>
                  </a:lnTo>
                  <a:lnTo>
                    <a:pt x="0" y="133"/>
                  </a:lnTo>
                  <a:cubicBezTo>
                    <a:pt x="76" y="119"/>
                    <a:pt x="157" y="111"/>
                    <a:pt x="239" y="110"/>
                  </a:cubicBezTo>
                  <a:lnTo>
                    <a:pt x="239" y="0"/>
                  </a:lnTo>
                  <a:cubicBezTo>
                    <a:pt x="161" y="1"/>
                    <a:pt x="84" y="8"/>
                    <a:pt x="11" y="21"/>
                  </a:cubicBezTo>
                  <a:lnTo>
                    <a:pt x="11" y="21"/>
                  </a:lnTo>
                  <a:lnTo>
                    <a:pt x="0" y="13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93" name="Freeform 64">
              <a:extLst>
                <a:ext uri="{FF2B5EF4-FFF2-40B4-BE49-F238E27FC236}">
                  <a16:creationId xmlns:a16="http://schemas.microsoft.com/office/drawing/2014/main" id="{4EE1B4AE-1B2B-4D2E-AFE4-ED571DE207C8}"/>
                </a:ext>
              </a:extLst>
            </p:cNvPr>
            <p:cNvSpPr>
              <a:spLocks/>
            </p:cNvSpPr>
            <p:nvPr/>
          </p:nvSpPr>
          <p:spPr bwMode="auto">
            <a:xfrm>
              <a:off x="1471" y="3309"/>
              <a:ext cx="105" cy="73"/>
            </a:xfrm>
            <a:custGeom>
              <a:avLst/>
              <a:gdLst>
                <a:gd name="T0" fmla="*/ 0 w 176"/>
                <a:gd name="T1" fmla="*/ 123 h 123"/>
                <a:gd name="T2" fmla="*/ 0 w 176"/>
                <a:gd name="T3" fmla="*/ 123 h 123"/>
                <a:gd name="T4" fmla="*/ 0 w 176"/>
                <a:gd name="T5" fmla="*/ 123 h 123"/>
                <a:gd name="T6" fmla="*/ 176 w 176"/>
                <a:gd name="T7" fmla="*/ 111 h 123"/>
                <a:gd name="T8" fmla="*/ 176 w 176"/>
                <a:gd name="T9" fmla="*/ 0 h 123"/>
                <a:gd name="T10" fmla="*/ 10 w 176"/>
                <a:gd name="T11" fmla="*/ 12 h 123"/>
                <a:gd name="T12" fmla="*/ 10 w 176"/>
                <a:gd name="T13" fmla="*/ 12 h 123"/>
                <a:gd name="T14" fmla="*/ 0 w 176"/>
                <a:gd name="T15" fmla="*/ 123 h 1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6" h="123">
                  <a:moveTo>
                    <a:pt x="0" y="123"/>
                  </a:moveTo>
                  <a:lnTo>
                    <a:pt x="0" y="123"/>
                  </a:lnTo>
                  <a:lnTo>
                    <a:pt x="0" y="123"/>
                  </a:lnTo>
                  <a:cubicBezTo>
                    <a:pt x="57" y="115"/>
                    <a:pt x="116" y="111"/>
                    <a:pt x="176" y="111"/>
                  </a:cubicBezTo>
                  <a:lnTo>
                    <a:pt x="176" y="0"/>
                  </a:lnTo>
                  <a:cubicBezTo>
                    <a:pt x="120" y="1"/>
                    <a:pt x="64" y="5"/>
                    <a:pt x="10" y="12"/>
                  </a:cubicBezTo>
                  <a:lnTo>
                    <a:pt x="10" y="12"/>
                  </a:lnTo>
                  <a:lnTo>
                    <a:pt x="0" y="12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94" name="Freeform 65">
              <a:extLst>
                <a:ext uri="{FF2B5EF4-FFF2-40B4-BE49-F238E27FC236}">
                  <a16:creationId xmlns:a16="http://schemas.microsoft.com/office/drawing/2014/main" id="{B83F15B3-AC52-4180-BC24-66F3F4970A23}"/>
                </a:ext>
              </a:extLst>
            </p:cNvPr>
            <p:cNvSpPr>
              <a:spLocks/>
            </p:cNvSpPr>
            <p:nvPr/>
          </p:nvSpPr>
          <p:spPr bwMode="auto">
            <a:xfrm>
              <a:off x="1377" y="3382"/>
              <a:ext cx="94" cy="86"/>
            </a:xfrm>
            <a:custGeom>
              <a:avLst/>
              <a:gdLst>
                <a:gd name="T0" fmla="*/ 0 w 156"/>
                <a:gd name="T1" fmla="*/ 143 h 143"/>
                <a:gd name="T2" fmla="*/ 0 w 156"/>
                <a:gd name="T3" fmla="*/ 143 h 143"/>
                <a:gd name="T4" fmla="*/ 145 w 156"/>
                <a:gd name="T5" fmla="*/ 112 h 143"/>
                <a:gd name="T6" fmla="*/ 156 w 156"/>
                <a:gd name="T7" fmla="*/ 0 h 143"/>
                <a:gd name="T8" fmla="*/ 0 w 156"/>
                <a:gd name="T9" fmla="*/ 33 h 143"/>
                <a:gd name="T10" fmla="*/ 0 w 156"/>
                <a:gd name="T11" fmla="*/ 143 h 143"/>
              </a:gdLst>
              <a:ahLst/>
              <a:cxnLst>
                <a:cxn ang="0">
                  <a:pos x="T0" y="T1"/>
                </a:cxn>
                <a:cxn ang="0">
                  <a:pos x="T2" y="T3"/>
                </a:cxn>
                <a:cxn ang="0">
                  <a:pos x="T4" y="T5"/>
                </a:cxn>
                <a:cxn ang="0">
                  <a:pos x="T6" y="T7"/>
                </a:cxn>
                <a:cxn ang="0">
                  <a:pos x="T8" y="T9"/>
                </a:cxn>
                <a:cxn ang="0">
                  <a:pos x="T10" y="T11"/>
                </a:cxn>
              </a:cxnLst>
              <a:rect l="0" t="0" r="r" b="b"/>
              <a:pathLst>
                <a:path w="156" h="143">
                  <a:moveTo>
                    <a:pt x="0" y="143"/>
                  </a:moveTo>
                  <a:lnTo>
                    <a:pt x="0" y="143"/>
                  </a:lnTo>
                  <a:cubicBezTo>
                    <a:pt x="46" y="130"/>
                    <a:pt x="95" y="119"/>
                    <a:pt x="145" y="112"/>
                  </a:cubicBezTo>
                  <a:lnTo>
                    <a:pt x="156" y="0"/>
                  </a:lnTo>
                  <a:cubicBezTo>
                    <a:pt x="101" y="8"/>
                    <a:pt x="49" y="19"/>
                    <a:pt x="0" y="33"/>
                  </a:cubicBez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95" name="Freeform 66">
              <a:extLst>
                <a:ext uri="{FF2B5EF4-FFF2-40B4-BE49-F238E27FC236}">
                  <a16:creationId xmlns:a16="http://schemas.microsoft.com/office/drawing/2014/main" id="{ABD6E240-62BD-45AC-B85F-99DD2B071335}"/>
                </a:ext>
              </a:extLst>
            </p:cNvPr>
            <p:cNvSpPr>
              <a:spLocks/>
            </p:cNvSpPr>
            <p:nvPr/>
          </p:nvSpPr>
          <p:spPr bwMode="auto">
            <a:xfrm>
              <a:off x="1377" y="3651"/>
              <a:ext cx="68" cy="81"/>
            </a:xfrm>
            <a:custGeom>
              <a:avLst/>
              <a:gdLst>
                <a:gd name="T0" fmla="*/ 0 w 114"/>
                <a:gd name="T1" fmla="*/ 136 h 136"/>
                <a:gd name="T2" fmla="*/ 0 w 114"/>
                <a:gd name="T3" fmla="*/ 136 h 136"/>
                <a:gd name="T4" fmla="*/ 104 w 114"/>
                <a:gd name="T5" fmla="*/ 112 h 136"/>
                <a:gd name="T6" fmla="*/ 114 w 114"/>
                <a:gd name="T7" fmla="*/ 0 h 136"/>
                <a:gd name="T8" fmla="*/ 0 w 114"/>
                <a:gd name="T9" fmla="*/ 26 h 136"/>
                <a:gd name="T10" fmla="*/ 0 w 114"/>
                <a:gd name="T11" fmla="*/ 136 h 136"/>
              </a:gdLst>
              <a:ahLst/>
              <a:cxnLst>
                <a:cxn ang="0">
                  <a:pos x="T0" y="T1"/>
                </a:cxn>
                <a:cxn ang="0">
                  <a:pos x="T2" y="T3"/>
                </a:cxn>
                <a:cxn ang="0">
                  <a:pos x="T4" y="T5"/>
                </a:cxn>
                <a:cxn ang="0">
                  <a:pos x="T6" y="T7"/>
                </a:cxn>
                <a:cxn ang="0">
                  <a:pos x="T8" y="T9"/>
                </a:cxn>
                <a:cxn ang="0">
                  <a:pos x="T10" y="T11"/>
                </a:cxn>
              </a:cxnLst>
              <a:rect l="0" t="0" r="r" b="b"/>
              <a:pathLst>
                <a:path w="114" h="136">
                  <a:moveTo>
                    <a:pt x="0" y="136"/>
                  </a:moveTo>
                  <a:lnTo>
                    <a:pt x="0" y="136"/>
                  </a:lnTo>
                  <a:cubicBezTo>
                    <a:pt x="33" y="127"/>
                    <a:pt x="68" y="119"/>
                    <a:pt x="104" y="112"/>
                  </a:cubicBezTo>
                  <a:lnTo>
                    <a:pt x="114" y="0"/>
                  </a:lnTo>
                  <a:cubicBezTo>
                    <a:pt x="75" y="7"/>
                    <a:pt x="36" y="16"/>
                    <a:pt x="0" y="26"/>
                  </a:cubicBezTo>
                  <a:lnTo>
                    <a:pt x="0" y="13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67">
              <a:extLst>
                <a:ext uri="{FF2B5EF4-FFF2-40B4-BE49-F238E27FC236}">
                  <a16:creationId xmlns:a16="http://schemas.microsoft.com/office/drawing/2014/main" id="{C092324F-1EDD-475D-9461-FD53C69D5F2A}"/>
                </a:ext>
              </a:extLst>
            </p:cNvPr>
            <p:cNvSpPr>
              <a:spLocks/>
            </p:cNvSpPr>
            <p:nvPr/>
          </p:nvSpPr>
          <p:spPr bwMode="auto">
            <a:xfrm>
              <a:off x="1377" y="3517"/>
              <a:ext cx="81" cy="83"/>
            </a:xfrm>
            <a:custGeom>
              <a:avLst/>
              <a:gdLst>
                <a:gd name="T0" fmla="*/ 0 w 135"/>
                <a:gd name="T1" fmla="*/ 139 h 139"/>
                <a:gd name="T2" fmla="*/ 0 w 135"/>
                <a:gd name="T3" fmla="*/ 139 h 139"/>
                <a:gd name="T4" fmla="*/ 125 w 135"/>
                <a:gd name="T5" fmla="*/ 111 h 139"/>
                <a:gd name="T6" fmla="*/ 135 w 135"/>
                <a:gd name="T7" fmla="*/ 0 h 139"/>
                <a:gd name="T8" fmla="*/ 0 w 135"/>
                <a:gd name="T9" fmla="*/ 29 h 139"/>
                <a:gd name="T10" fmla="*/ 0 w 135"/>
                <a:gd name="T11" fmla="*/ 139 h 139"/>
              </a:gdLst>
              <a:ahLst/>
              <a:cxnLst>
                <a:cxn ang="0">
                  <a:pos x="T0" y="T1"/>
                </a:cxn>
                <a:cxn ang="0">
                  <a:pos x="T2" y="T3"/>
                </a:cxn>
                <a:cxn ang="0">
                  <a:pos x="T4" y="T5"/>
                </a:cxn>
                <a:cxn ang="0">
                  <a:pos x="T6" y="T7"/>
                </a:cxn>
                <a:cxn ang="0">
                  <a:pos x="T8" y="T9"/>
                </a:cxn>
                <a:cxn ang="0">
                  <a:pos x="T10" y="T11"/>
                </a:cxn>
              </a:cxnLst>
              <a:rect l="0" t="0" r="r" b="b"/>
              <a:pathLst>
                <a:path w="135" h="139">
                  <a:moveTo>
                    <a:pt x="0" y="139"/>
                  </a:moveTo>
                  <a:lnTo>
                    <a:pt x="0" y="139"/>
                  </a:lnTo>
                  <a:cubicBezTo>
                    <a:pt x="39" y="128"/>
                    <a:pt x="81" y="118"/>
                    <a:pt x="125" y="111"/>
                  </a:cubicBezTo>
                  <a:lnTo>
                    <a:pt x="135" y="0"/>
                  </a:lnTo>
                  <a:cubicBezTo>
                    <a:pt x="88" y="7"/>
                    <a:pt x="43" y="17"/>
                    <a:pt x="0" y="29"/>
                  </a:cubicBezTo>
                  <a:lnTo>
                    <a:pt x="0" y="13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97" name="Freeform 68">
              <a:extLst>
                <a:ext uri="{FF2B5EF4-FFF2-40B4-BE49-F238E27FC236}">
                  <a16:creationId xmlns:a16="http://schemas.microsoft.com/office/drawing/2014/main" id="{B858DF75-CA00-4B42-80CD-3B0AA5D3305B}"/>
                </a:ext>
              </a:extLst>
            </p:cNvPr>
            <p:cNvSpPr>
              <a:spLocks/>
            </p:cNvSpPr>
            <p:nvPr/>
          </p:nvSpPr>
          <p:spPr bwMode="auto">
            <a:xfrm>
              <a:off x="1445" y="3573"/>
              <a:ext cx="131" cy="78"/>
            </a:xfrm>
            <a:custGeom>
              <a:avLst/>
              <a:gdLst>
                <a:gd name="T0" fmla="*/ 0 w 218"/>
                <a:gd name="T1" fmla="*/ 129 h 129"/>
                <a:gd name="T2" fmla="*/ 0 w 218"/>
                <a:gd name="T3" fmla="*/ 129 h 129"/>
                <a:gd name="T4" fmla="*/ 0 w 218"/>
                <a:gd name="T5" fmla="*/ 129 h 129"/>
                <a:gd name="T6" fmla="*/ 218 w 218"/>
                <a:gd name="T7" fmla="*/ 110 h 129"/>
                <a:gd name="T8" fmla="*/ 218 w 218"/>
                <a:gd name="T9" fmla="*/ 0 h 129"/>
                <a:gd name="T10" fmla="*/ 11 w 218"/>
                <a:gd name="T11" fmla="*/ 17 h 129"/>
                <a:gd name="T12" fmla="*/ 11 w 218"/>
                <a:gd name="T13" fmla="*/ 17 h 129"/>
                <a:gd name="T14" fmla="*/ 0 w 218"/>
                <a:gd name="T15" fmla="*/ 129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8" h="129">
                  <a:moveTo>
                    <a:pt x="0" y="129"/>
                  </a:moveTo>
                  <a:lnTo>
                    <a:pt x="0" y="129"/>
                  </a:lnTo>
                  <a:lnTo>
                    <a:pt x="0" y="129"/>
                  </a:lnTo>
                  <a:cubicBezTo>
                    <a:pt x="70" y="117"/>
                    <a:pt x="143" y="110"/>
                    <a:pt x="218" y="110"/>
                  </a:cubicBezTo>
                  <a:lnTo>
                    <a:pt x="218" y="0"/>
                  </a:lnTo>
                  <a:cubicBezTo>
                    <a:pt x="147" y="0"/>
                    <a:pt x="77" y="6"/>
                    <a:pt x="11" y="17"/>
                  </a:cubicBezTo>
                  <a:lnTo>
                    <a:pt x="11" y="17"/>
                  </a:lnTo>
                  <a:lnTo>
                    <a:pt x="0" y="12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98" name="Freeform 69">
              <a:extLst>
                <a:ext uri="{FF2B5EF4-FFF2-40B4-BE49-F238E27FC236}">
                  <a16:creationId xmlns:a16="http://schemas.microsoft.com/office/drawing/2014/main" id="{F4EC1113-DDF2-469D-8AFC-7C53708E96EA}"/>
                </a:ext>
              </a:extLst>
            </p:cNvPr>
            <p:cNvSpPr>
              <a:spLocks/>
            </p:cNvSpPr>
            <p:nvPr/>
          </p:nvSpPr>
          <p:spPr bwMode="auto">
            <a:xfrm>
              <a:off x="1587" y="1788"/>
              <a:ext cx="168" cy="86"/>
            </a:xfrm>
            <a:custGeom>
              <a:avLst/>
              <a:gdLst>
                <a:gd name="T0" fmla="*/ 0 w 280"/>
                <a:gd name="T1" fmla="*/ 110 h 142"/>
                <a:gd name="T2" fmla="*/ 0 w 280"/>
                <a:gd name="T3" fmla="*/ 110 h 142"/>
                <a:gd name="T4" fmla="*/ 280 w 280"/>
                <a:gd name="T5" fmla="*/ 142 h 142"/>
                <a:gd name="T6" fmla="*/ 280 w 280"/>
                <a:gd name="T7" fmla="*/ 142 h 142"/>
                <a:gd name="T8" fmla="*/ 269 w 280"/>
                <a:gd name="T9" fmla="*/ 30 h 142"/>
                <a:gd name="T10" fmla="*/ 269 w 280"/>
                <a:gd name="T11" fmla="*/ 30 h 142"/>
                <a:gd name="T12" fmla="*/ 0 w 280"/>
                <a:gd name="T13" fmla="*/ 0 h 142"/>
                <a:gd name="T14" fmla="*/ 0 w 280"/>
                <a:gd name="T15" fmla="*/ 110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0" h="142">
                  <a:moveTo>
                    <a:pt x="0" y="110"/>
                  </a:moveTo>
                  <a:lnTo>
                    <a:pt x="0" y="110"/>
                  </a:lnTo>
                  <a:cubicBezTo>
                    <a:pt x="97" y="111"/>
                    <a:pt x="192" y="122"/>
                    <a:pt x="280" y="142"/>
                  </a:cubicBezTo>
                  <a:lnTo>
                    <a:pt x="280" y="142"/>
                  </a:lnTo>
                  <a:lnTo>
                    <a:pt x="269" y="30"/>
                  </a:lnTo>
                  <a:lnTo>
                    <a:pt x="269" y="30"/>
                  </a:lnTo>
                  <a:cubicBezTo>
                    <a:pt x="185" y="11"/>
                    <a:pt x="93" y="1"/>
                    <a:pt x="0" y="0"/>
                  </a:cubicBezTo>
                  <a:lnTo>
                    <a:pt x="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99" name="Freeform 70">
              <a:extLst>
                <a:ext uri="{FF2B5EF4-FFF2-40B4-BE49-F238E27FC236}">
                  <a16:creationId xmlns:a16="http://schemas.microsoft.com/office/drawing/2014/main" id="{8EB45371-15F6-4802-8DC3-17B6971F03D3}"/>
                </a:ext>
              </a:extLst>
            </p:cNvPr>
            <p:cNvSpPr>
              <a:spLocks/>
            </p:cNvSpPr>
            <p:nvPr/>
          </p:nvSpPr>
          <p:spPr bwMode="auto">
            <a:xfrm>
              <a:off x="1587" y="1656"/>
              <a:ext cx="155" cy="83"/>
            </a:xfrm>
            <a:custGeom>
              <a:avLst/>
              <a:gdLst>
                <a:gd name="T0" fmla="*/ 0 w 259"/>
                <a:gd name="T1" fmla="*/ 110 h 137"/>
                <a:gd name="T2" fmla="*/ 0 w 259"/>
                <a:gd name="T3" fmla="*/ 110 h 137"/>
                <a:gd name="T4" fmla="*/ 259 w 259"/>
                <a:gd name="T5" fmla="*/ 137 h 137"/>
                <a:gd name="T6" fmla="*/ 259 w 259"/>
                <a:gd name="T7" fmla="*/ 137 h 137"/>
                <a:gd name="T8" fmla="*/ 248 w 259"/>
                <a:gd name="T9" fmla="*/ 25 h 137"/>
                <a:gd name="T10" fmla="*/ 248 w 259"/>
                <a:gd name="T11" fmla="*/ 25 h 137"/>
                <a:gd name="T12" fmla="*/ 0 w 259"/>
                <a:gd name="T13" fmla="*/ 0 h 137"/>
                <a:gd name="T14" fmla="*/ 0 w 259"/>
                <a:gd name="T15" fmla="*/ 110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 h="137">
                  <a:moveTo>
                    <a:pt x="0" y="110"/>
                  </a:moveTo>
                  <a:lnTo>
                    <a:pt x="0" y="110"/>
                  </a:lnTo>
                  <a:cubicBezTo>
                    <a:pt x="89" y="111"/>
                    <a:pt x="177" y="120"/>
                    <a:pt x="259" y="137"/>
                  </a:cubicBezTo>
                  <a:lnTo>
                    <a:pt x="259" y="137"/>
                  </a:lnTo>
                  <a:lnTo>
                    <a:pt x="248" y="25"/>
                  </a:lnTo>
                  <a:lnTo>
                    <a:pt x="248" y="25"/>
                  </a:lnTo>
                  <a:cubicBezTo>
                    <a:pt x="170" y="9"/>
                    <a:pt x="85" y="1"/>
                    <a:pt x="0" y="0"/>
                  </a:cubicBezTo>
                  <a:lnTo>
                    <a:pt x="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0" name="Freeform 71">
              <a:extLst>
                <a:ext uri="{FF2B5EF4-FFF2-40B4-BE49-F238E27FC236}">
                  <a16:creationId xmlns:a16="http://schemas.microsoft.com/office/drawing/2014/main" id="{0B07320A-B31B-42AA-A2DC-BDB3A4072207}"/>
                </a:ext>
              </a:extLst>
            </p:cNvPr>
            <p:cNvSpPr>
              <a:spLocks/>
            </p:cNvSpPr>
            <p:nvPr/>
          </p:nvSpPr>
          <p:spPr bwMode="auto">
            <a:xfrm>
              <a:off x="1587" y="1524"/>
              <a:ext cx="143" cy="80"/>
            </a:xfrm>
            <a:custGeom>
              <a:avLst/>
              <a:gdLst>
                <a:gd name="T0" fmla="*/ 0 w 238"/>
                <a:gd name="T1" fmla="*/ 110 h 133"/>
                <a:gd name="T2" fmla="*/ 0 w 238"/>
                <a:gd name="T3" fmla="*/ 110 h 133"/>
                <a:gd name="T4" fmla="*/ 238 w 238"/>
                <a:gd name="T5" fmla="*/ 133 h 133"/>
                <a:gd name="T6" fmla="*/ 238 w 238"/>
                <a:gd name="T7" fmla="*/ 133 h 133"/>
                <a:gd name="T8" fmla="*/ 228 w 238"/>
                <a:gd name="T9" fmla="*/ 21 h 133"/>
                <a:gd name="T10" fmla="*/ 228 w 238"/>
                <a:gd name="T11" fmla="*/ 21 h 133"/>
                <a:gd name="T12" fmla="*/ 0 w 238"/>
                <a:gd name="T13" fmla="*/ 0 h 133"/>
                <a:gd name="T14" fmla="*/ 0 w 238"/>
                <a:gd name="T15" fmla="*/ 110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8" h="133">
                  <a:moveTo>
                    <a:pt x="0" y="110"/>
                  </a:moveTo>
                  <a:lnTo>
                    <a:pt x="0" y="110"/>
                  </a:lnTo>
                  <a:cubicBezTo>
                    <a:pt x="82" y="110"/>
                    <a:pt x="162" y="118"/>
                    <a:pt x="238" y="133"/>
                  </a:cubicBezTo>
                  <a:lnTo>
                    <a:pt x="238" y="133"/>
                  </a:lnTo>
                  <a:lnTo>
                    <a:pt x="228" y="21"/>
                  </a:lnTo>
                  <a:lnTo>
                    <a:pt x="228" y="21"/>
                  </a:lnTo>
                  <a:cubicBezTo>
                    <a:pt x="155" y="7"/>
                    <a:pt x="78" y="0"/>
                    <a:pt x="0" y="0"/>
                  </a:cubicBezTo>
                  <a:lnTo>
                    <a:pt x="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1" name="Freeform 72">
              <a:extLst>
                <a:ext uri="{FF2B5EF4-FFF2-40B4-BE49-F238E27FC236}">
                  <a16:creationId xmlns:a16="http://schemas.microsoft.com/office/drawing/2014/main" id="{70ABF745-4EFD-44D3-89D4-CAB539D16AC4}"/>
                </a:ext>
              </a:extLst>
            </p:cNvPr>
            <p:cNvSpPr>
              <a:spLocks/>
            </p:cNvSpPr>
            <p:nvPr/>
          </p:nvSpPr>
          <p:spPr bwMode="auto">
            <a:xfrm>
              <a:off x="1587" y="2053"/>
              <a:ext cx="193" cy="91"/>
            </a:xfrm>
            <a:custGeom>
              <a:avLst/>
              <a:gdLst>
                <a:gd name="T0" fmla="*/ 0 w 322"/>
                <a:gd name="T1" fmla="*/ 111 h 153"/>
                <a:gd name="T2" fmla="*/ 0 w 322"/>
                <a:gd name="T3" fmla="*/ 111 h 153"/>
                <a:gd name="T4" fmla="*/ 322 w 322"/>
                <a:gd name="T5" fmla="*/ 153 h 153"/>
                <a:gd name="T6" fmla="*/ 322 w 322"/>
                <a:gd name="T7" fmla="*/ 153 h 153"/>
                <a:gd name="T8" fmla="*/ 311 w 322"/>
                <a:gd name="T9" fmla="*/ 40 h 153"/>
                <a:gd name="T10" fmla="*/ 311 w 322"/>
                <a:gd name="T11" fmla="*/ 40 h 153"/>
                <a:gd name="T12" fmla="*/ 0 w 322"/>
                <a:gd name="T13" fmla="*/ 0 h 153"/>
                <a:gd name="T14" fmla="*/ 0 w 322"/>
                <a:gd name="T15" fmla="*/ 111 h 1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 h="153">
                  <a:moveTo>
                    <a:pt x="0" y="111"/>
                  </a:moveTo>
                  <a:lnTo>
                    <a:pt x="0" y="111"/>
                  </a:lnTo>
                  <a:cubicBezTo>
                    <a:pt x="112" y="111"/>
                    <a:pt x="223" y="126"/>
                    <a:pt x="322" y="153"/>
                  </a:cubicBezTo>
                  <a:lnTo>
                    <a:pt x="322" y="153"/>
                  </a:lnTo>
                  <a:lnTo>
                    <a:pt x="311" y="40"/>
                  </a:lnTo>
                  <a:lnTo>
                    <a:pt x="311" y="40"/>
                  </a:lnTo>
                  <a:cubicBezTo>
                    <a:pt x="215" y="15"/>
                    <a:pt x="108" y="1"/>
                    <a:pt x="0" y="0"/>
                  </a:cubicBezTo>
                  <a:lnTo>
                    <a:pt x="0" y="11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2" name="Freeform 73">
              <a:extLst>
                <a:ext uri="{FF2B5EF4-FFF2-40B4-BE49-F238E27FC236}">
                  <a16:creationId xmlns:a16="http://schemas.microsoft.com/office/drawing/2014/main" id="{3499A5AD-907A-4EC2-9346-417325059AFC}"/>
                </a:ext>
              </a:extLst>
            </p:cNvPr>
            <p:cNvSpPr>
              <a:spLocks/>
            </p:cNvSpPr>
            <p:nvPr/>
          </p:nvSpPr>
          <p:spPr bwMode="auto">
            <a:xfrm>
              <a:off x="1587" y="1920"/>
              <a:ext cx="180" cy="89"/>
            </a:xfrm>
            <a:custGeom>
              <a:avLst/>
              <a:gdLst>
                <a:gd name="T0" fmla="*/ 0 w 301"/>
                <a:gd name="T1" fmla="*/ 110 h 148"/>
                <a:gd name="T2" fmla="*/ 0 w 301"/>
                <a:gd name="T3" fmla="*/ 110 h 148"/>
                <a:gd name="T4" fmla="*/ 301 w 301"/>
                <a:gd name="T5" fmla="*/ 148 h 148"/>
                <a:gd name="T6" fmla="*/ 301 w 301"/>
                <a:gd name="T7" fmla="*/ 147 h 148"/>
                <a:gd name="T8" fmla="*/ 290 w 301"/>
                <a:gd name="T9" fmla="*/ 35 h 148"/>
                <a:gd name="T10" fmla="*/ 290 w 301"/>
                <a:gd name="T11" fmla="*/ 35 h 148"/>
                <a:gd name="T12" fmla="*/ 0 w 301"/>
                <a:gd name="T13" fmla="*/ 0 h 148"/>
                <a:gd name="T14" fmla="*/ 0 w 301"/>
                <a:gd name="T15" fmla="*/ 110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1" h="148">
                  <a:moveTo>
                    <a:pt x="0" y="110"/>
                  </a:moveTo>
                  <a:lnTo>
                    <a:pt x="0" y="110"/>
                  </a:lnTo>
                  <a:cubicBezTo>
                    <a:pt x="104" y="111"/>
                    <a:pt x="207" y="124"/>
                    <a:pt x="301" y="148"/>
                  </a:cubicBezTo>
                  <a:lnTo>
                    <a:pt x="301" y="147"/>
                  </a:lnTo>
                  <a:lnTo>
                    <a:pt x="290" y="35"/>
                  </a:lnTo>
                  <a:lnTo>
                    <a:pt x="290" y="35"/>
                  </a:lnTo>
                  <a:cubicBezTo>
                    <a:pt x="200" y="13"/>
                    <a:pt x="101" y="1"/>
                    <a:pt x="0" y="0"/>
                  </a:cubicBezTo>
                  <a:lnTo>
                    <a:pt x="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3" name="Freeform 74">
              <a:extLst>
                <a:ext uri="{FF2B5EF4-FFF2-40B4-BE49-F238E27FC236}">
                  <a16:creationId xmlns:a16="http://schemas.microsoft.com/office/drawing/2014/main" id="{7576ED2B-60D7-4D97-A5C4-73C3E8CA9E08}"/>
                </a:ext>
              </a:extLst>
            </p:cNvPr>
            <p:cNvSpPr>
              <a:spLocks/>
            </p:cNvSpPr>
            <p:nvPr/>
          </p:nvSpPr>
          <p:spPr bwMode="auto">
            <a:xfrm>
              <a:off x="1587" y="1392"/>
              <a:ext cx="130" cy="78"/>
            </a:xfrm>
            <a:custGeom>
              <a:avLst/>
              <a:gdLst>
                <a:gd name="T0" fmla="*/ 0 w 217"/>
                <a:gd name="T1" fmla="*/ 110 h 129"/>
                <a:gd name="T2" fmla="*/ 0 w 217"/>
                <a:gd name="T3" fmla="*/ 110 h 129"/>
                <a:gd name="T4" fmla="*/ 217 w 217"/>
                <a:gd name="T5" fmla="*/ 129 h 129"/>
                <a:gd name="T6" fmla="*/ 217 w 217"/>
                <a:gd name="T7" fmla="*/ 129 h 129"/>
                <a:gd name="T8" fmla="*/ 207 w 217"/>
                <a:gd name="T9" fmla="*/ 17 h 129"/>
                <a:gd name="T10" fmla="*/ 207 w 217"/>
                <a:gd name="T11" fmla="*/ 17 h 129"/>
                <a:gd name="T12" fmla="*/ 0 w 217"/>
                <a:gd name="T13" fmla="*/ 0 h 129"/>
                <a:gd name="T14" fmla="*/ 0 w 217"/>
                <a:gd name="T15" fmla="*/ 110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7" h="129">
                  <a:moveTo>
                    <a:pt x="0" y="110"/>
                  </a:moveTo>
                  <a:lnTo>
                    <a:pt x="0" y="110"/>
                  </a:lnTo>
                  <a:cubicBezTo>
                    <a:pt x="74" y="110"/>
                    <a:pt x="148" y="117"/>
                    <a:pt x="217" y="129"/>
                  </a:cubicBezTo>
                  <a:lnTo>
                    <a:pt x="217" y="129"/>
                  </a:lnTo>
                  <a:lnTo>
                    <a:pt x="207" y="17"/>
                  </a:lnTo>
                  <a:lnTo>
                    <a:pt x="207" y="17"/>
                  </a:lnTo>
                  <a:cubicBezTo>
                    <a:pt x="140" y="6"/>
                    <a:pt x="70" y="0"/>
                    <a:pt x="0" y="0"/>
                  </a:cubicBezTo>
                  <a:lnTo>
                    <a:pt x="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4" name="Freeform 75">
              <a:extLst>
                <a:ext uri="{FF2B5EF4-FFF2-40B4-BE49-F238E27FC236}">
                  <a16:creationId xmlns:a16="http://schemas.microsoft.com/office/drawing/2014/main" id="{E976887C-D27C-4533-8E51-F7D5C5D44577}"/>
                </a:ext>
              </a:extLst>
            </p:cNvPr>
            <p:cNvSpPr>
              <a:spLocks/>
            </p:cNvSpPr>
            <p:nvPr/>
          </p:nvSpPr>
          <p:spPr bwMode="auto">
            <a:xfrm>
              <a:off x="1587" y="467"/>
              <a:ext cx="44" cy="68"/>
            </a:xfrm>
            <a:custGeom>
              <a:avLst/>
              <a:gdLst>
                <a:gd name="T0" fmla="*/ 0 w 73"/>
                <a:gd name="T1" fmla="*/ 110 h 113"/>
                <a:gd name="T2" fmla="*/ 0 w 73"/>
                <a:gd name="T3" fmla="*/ 110 h 113"/>
                <a:gd name="T4" fmla="*/ 73 w 73"/>
                <a:gd name="T5" fmla="*/ 113 h 113"/>
                <a:gd name="T6" fmla="*/ 73 w 73"/>
                <a:gd name="T7" fmla="*/ 113 h 113"/>
                <a:gd name="T8" fmla="*/ 62 w 73"/>
                <a:gd name="T9" fmla="*/ 2 h 113"/>
                <a:gd name="T10" fmla="*/ 62 w 73"/>
                <a:gd name="T11" fmla="*/ 2 h 113"/>
                <a:gd name="T12" fmla="*/ 0 w 73"/>
                <a:gd name="T13" fmla="*/ 0 h 113"/>
                <a:gd name="T14" fmla="*/ 0 w 73"/>
                <a:gd name="T15" fmla="*/ 11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113">
                  <a:moveTo>
                    <a:pt x="0" y="110"/>
                  </a:moveTo>
                  <a:lnTo>
                    <a:pt x="0" y="110"/>
                  </a:lnTo>
                  <a:cubicBezTo>
                    <a:pt x="24" y="111"/>
                    <a:pt x="49" y="111"/>
                    <a:pt x="73" y="113"/>
                  </a:cubicBezTo>
                  <a:lnTo>
                    <a:pt x="73" y="113"/>
                  </a:lnTo>
                  <a:lnTo>
                    <a:pt x="62" y="2"/>
                  </a:lnTo>
                  <a:lnTo>
                    <a:pt x="62" y="2"/>
                  </a:lnTo>
                  <a:cubicBezTo>
                    <a:pt x="42" y="1"/>
                    <a:pt x="21" y="0"/>
                    <a:pt x="0" y="0"/>
                  </a:cubicBezTo>
                  <a:lnTo>
                    <a:pt x="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5" name="Freeform 76">
              <a:extLst>
                <a:ext uri="{FF2B5EF4-FFF2-40B4-BE49-F238E27FC236}">
                  <a16:creationId xmlns:a16="http://schemas.microsoft.com/office/drawing/2014/main" id="{68D1CE7E-F23C-4463-A6FB-0B187E19EEF3}"/>
                </a:ext>
              </a:extLst>
            </p:cNvPr>
            <p:cNvSpPr>
              <a:spLocks/>
            </p:cNvSpPr>
            <p:nvPr/>
          </p:nvSpPr>
          <p:spPr bwMode="auto">
            <a:xfrm>
              <a:off x="1587" y="599"/>
              <a:ext cx="56" cy="68"/>
            </a:xfrm>
            <a:custGeom>
              <a:avLst/>
              <a:gdLst>
                <a:gd name="T0" fmla="*/ 0 w 93"/>
                <a:gd name="T1" fmla="*/ 111 h 114"/>
                <a:gd name="T2" fmla="*/ 0 w 93"/>
                <a:gd name="T3" fmla="*/ 111 h 114"/>
                <a:gd name="T4" fmla="*/ 93 w 93"/>
                <a:gd name="T5" fmla="*/ 114 h 114"/>
                <a:gd name="T6" fmla="*/ 93 w 93"/>
                <a:gd name="T7" fmla="*/ 114 h 114"/>
                <a:gd name="T8" fmla="*/ 83 w 93"/>
                <a:gd name="T9" fmla="*/ 4 h 114"/>
                <a:gd name="T10" fmla="*/ 83 w 93"/>
                <a:gd name="T11" fmla="*/ 3 h 114"/>
                <a:gd name="T12" fmla="*/ 0 w 93"/>
                <a:gd name="T13" fmla="*/ 0 h 114"/>
                <a:gd name="T14" fmla="*/ 0 w 93"/>
                <a:gd name="T15" fmla="*/ 111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114">
                  <a:moveTo>
                    <a:pt x="0" y="111"/>
                  </a:moveTo>
                  <a:lnTo>
                    <a:pt x="0" y="111"/>
                  </a:lnTo>
                  <a:cubicBezTo>
                    <a:pt x="31" y="111"/>
                    <a:pt x="62" y="112"/>
                    <a:pt x="93" y="114"/>
                  </a:cubicBezTo>
                  <a:lnTo>
                    <a:pt x="93" y="114"/>
                  </a:lnTo>
                  <a:lnTo>
                    <a:pt x="83" y="4"/>
                  </a:lnTo>
                  <a:lnTo>
                    <a:pt x="83" y="3"/>
                  </a:lnTo>
                  <a:cubicBezTo>
                    <a:pt x="55" y="2"/>
                    <a:pt x="28" y="1"/>
                    <a:pt x="0" y="0"/>
                  </a:cubicBezTo>
                  <a:lnTo>
                    <a:pt x="0" y="11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6" name="Freeform 77">
              <a:extLst>
                <a:ext uri="{FF2B5EF4-FFF2-40B4-BE49-F238E27FC236}">
                  <a16:creationId xmlns:a16="http://schemas.microsoft.com/office/drawing/2014/main" id="{3463093E-E304-441B-B59B-4224E52E8361}"/>
                </a:ext>
              </a:extLst>
            </p:cNvPr>
            <p:cNvSpPr>
              <a:spLocks/>
            </p:cNvSpPr>
            <p:nvPr/>
          </p:nvSpPr>
          <p:spPr bwMode="auto">
            <a:xfrm>
              <a:off x="1587" y="335"/>
              <a:ext cx="31" cy="67"/>
            </a:xfrm>
            <a:custGeom>
              <a:avLst/>
              <a:gdLst>
                <a:gd name="T0" fmla="*/ 0 w 52"/>
                <a:gd name="T1" fmla="*/ 110 h 111"/>
                <a:gd name="T2" fmla="*/ 0 w 52"/>
                <a:gd name="T3" fmla="*/ 110 h 111"/>
                <a:gd name="T4" fmla="*/ 52 w 52"/>
                <a:gd name="T5" fmla="*/ 111 h 111"/>
                <a:gd name="T6" fmla="*/ 52 w 52"/>
                <a:gd name="T7" fmla="*/ 111 h 111"/>
                <a:gd name="T8" fmla="*/ 42 w 52"/>
                <a:gd name="T9" fmla="*/ 1 h 111"/>
                <a:gd name="T10" fmla="*/ 42 w 52"/>
                <a:gd name="T11" fmla="*/ 1 h 111"/>
                <a:gd name="T12" fmla="*/ 0 w 52"/>
                <a:gd name="T13" fmla="*/ 0 h 111"/>
                <a:gd name="T14" fmla="*/ 0 w 52"/>
                <a:gd name="T15" fmla="*/ 11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11">
                  <a:moveTo>
                    <a:pt x="0" y="110"/>
                  </a:moveTo>
                  <a:lnTo>
                    <a:pt x="0" y="110"/>
                  </a:lnTo>
                  <a:cubicBezTo>
                    <a:pt x="17" y="110"/>
                    <a:pt x="35" y="111"/>
                    <a:pt x="52" y="111"/>
                  </a:cubicBezTo>
                  <a:lnTo>
                    <a:pt x="52" y="111"/>
                  </a:lnTo>
                  <a:lnTo>
                    <a:pt x="42" y="1"/>
                  </a:lnTo>
                  <a:lnTo>
                    <a:pt x="42" y="1"/>
                  </a:lnTo>
                  <a:cubicBezTo>
                    <a:pt x="28" y="0"/>
                    <a:pt x="14" y="0"/>
                    <a:pt x="0" y="0"/>
                  </a:cubicBezTo>
                  <a:lnTo>
                    <a:pt x="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7" name="Freeform 78">
              <a:extLst>
                <a:ext uri="{FF2B5EF4-FFF2-40B4-BE49-F238E27FC236}">
                  <a16:creationId xmlns:a16="http://schemas.microsoft.com/office/drawing/2014/main" id="{8E2E22CF-2692-452F-8BC6-721C6CEBF363}"/>
                </a:ext>
              </a:extLst>
            </p:cNvPr>
            <p:cNvSpPr>
              <a:spLocks/>
            </p:cNvSpPr>
            <p:nvPr/>
          </p:nvSpPr>
          <p:spPr bwMode="auto">
            <a:xfrm>
              <a:off x="1587" y="203"/>
              <a:ext cx="19" cy="66"/>
            </a:xfrm>
            <a:custGeom>
              <a:avLst/>
              <a:gdLst>
                <a:gd name="T0" fmla="*/ 0 w 32"/>
                <a:gd name="T1" fmla="*/ 110 h 111"/>
                <a:gd name="T2" fmla="*/ 0 w 32"/>
                <a:gd name="T3" fmla="*/ 110 h 111"/>
                <a:gd name="T4" fmla="*/ 32 w 32"/>
                <a:gd name="T5" fmla="*/ 111 h 111"/>
                <a:gd name="T6" fmla="*/ 32 w 32"/>
                <a:gd name="T7" fmla="*/ 110 h 111"/>
                <a:gd name="T8" fmla="*/ 21 w 32"/>
                <a:gd name="T9" fmla="*/ 0 h 111"/>
                <a:gd name="T10" fmla="*/ 21 w 32"/>
                <a:gd name="T11" fmla="*/ 0 h 111"/>
                <a:gd name="T12" fmla="*/ 0 w 32"/>
                <a:gd name="T13" fmla="*/ 0 h 111"/>
                <a:gd name="T14" fmla="*/ 0 w 32"/>
                <a:gd name="T15" fmla="*/ 11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1">
                  <a:moveTo>
                    <a:pt x="0" y="110"/>
                  </a:moveTo>
                  <a:lnTo>
                    <a:pt x="0" y="110"/>
                  </a:lnTo>
                  <a:cubicBezTo>
                    <a:pt x="11" y="110"/>
                    <a:pt x="21" y="110"/>
                    <a:pt x="32" y="111"/>
                  </a:cubicBezTo>
                  <a:lnTo>
                    <a:pt x="32" y="110"/>
                  </a:lnTo>
                  <a:lnTo>
                    <a:pt x="21" y="0"/>
                  </a:lnTo>
                  <a:lnTo>
                    <a:pt x="21" y="0"/>
                  </a:lnTo>
                  <a:cubicBezTo>
                    <a:pt x="14" y="0"/>
                    <a:pt x="7" y="0"/>
                    <a:pt x="0" y="0"/>
                  </a:cubicBezTo>
                  <a:lnTo>
                    <a:pt x="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8" name="Freeform 79">
              <a:extLst>
                <a:ext uri="{FF2B5EF4-FFF2-40B4-BE49-F238E27FC236}">
                  <a16:creationId xmlns:a16="http://schemas.microsoft.com/office/drawing/2014/main" id="{EC19488B-2258-46FC-AC50-2E5353EECB9F}"/>
                </a:ext>
              </a:extLst>
            </p:cNvPr>
            <p:cNvSpPr>
              <a:spLocks/>
            </p:cNvSpPr>
            <p:nvPr/>
          </p:nvSpPr>
          <p:spPr bwMode="auto">
            <a:xfrm>
              <a:off x="1587" y="732"/>
              <a:ext cx="68" cy="69"/>
            </a:xfrm>
            <a:custGeom>
              <a:avLst/>
              <a:gdLst>
                <a:gd name="T0" fmla="*/ 0 w 114"/>
                <a:gd name="T1" fmla="*/ 110 h 115"/>
                <a:gd name="T2" fmla="*/ 0 w 114"/>
                <a:gd name="T3" fmla="*/ 110 h 115"/>
                <a:gd name="T4" fmla="*/ 114 w 114"/>
                <a:gd name="T5" fmla="*/ 115 h 115"/>
                <a:gd name="T6" fmla="*/ 114 w 114"/>
                <a:gd name="T7" fmla="*/ 115 h 115"/>
                <a:gd name="T8" fmla="*/ 104 w 114"/>
                <a:gd name="T9" fmla="*/ 4 h 115"/>
                <a:gd name="T10" fmla="*/ 104 w 114"/>
                <a:gd name="T11" fmla="*/ 4 h 115"/>
                <a:gd name="T12" fmla="*/ 0 w 114"/>
                <a:gd name="T13" fmla="*/ 0 h 115"/>
                <a:gd name="T14" fmla="*/ 0 w 114"/>
                <a:gd name="T15" fmla="*/ 110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115">
                  <a:moveTo>
                    <a:pt x="0" y="110"/>
                  </a:moveTo>
                  <a:lnTo>
                    <a:pt x="0" y="110"/>
                  </a:lnTo>
                  <a:cubicBezTo>
                    <a:pt x="38" y="110"/>
                    <a:pt x="76" y="112"/>
                    <a:pt x="114" y="115"/>
                  </a:cubicBezTo>
                  <a:lnTo>
                    <a:pt x="114" y="115"/>
                  </a:lnTo>
                  <a:lnTo>
                    <a:pt x="104" y="4"/>
                  </a:lnTo>
                  <a:lnTo>
                    <a:pt x="104" y="4"/>
                  </a:lnTo>
                  <a:cubicBezTo>
                    <a:pt x="69" y="1"/>
                    <a:pt x="35" y="0"/>
                    <a:pt x="0" y="0"/>
                  </a:cubicBezTo>
                  <a:lnTo>
                    <a:pt x="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9" name="Freeform 80">
              <a:extLst>
                <a:ext uri="{FF2B5EF4-FFF2-40B4-BE49-F238E27FC236}">
                  <a16:creationId xmlns:a16="http://schemas.microsoft.com/office/drawing/2014/main" id="{33B5B710-3E5C-4844-8FF4-070320E1797A}"/>
                </a:ext>
              </a:extLst>
            </p:cNvPr>
            <p:cNvSpPr>
              <a:spLocks/>
            </p:cNvSpPr>
            <p:nvPr/>
          </p:nvSpPr>
          <p:spPr bwMode="auto">
            <a:xfrm>
              <a:off x="1587" y="996"/>
              <a:ext cx="93" cy="72"/>
            </a:xfrm>
            <a:custGeom>
              <a:avLst/>
              <a:gdLst>
                <a:gd name="T0" fmla="*/ 0 w 155"/>
                <a:gd name="T1" fmla="*/ 110 h 120"/>
                <a:gd name="T2" fmla="*/ 0 w 155"/>
                <a:gd name="T3" fmla="*/ 110 h 120"/>
                <a:gd name="T4" fmla="*/ 155 w 155"/>
                <a:gd name="T5" fmla="*/ 120 h 120"/>
                <a:gd name="T6" fmla="*/ 155 w 155"/>
                <a:gd name="T7" fmla="*/ 120 h 120"/>
                <a:gd name="T8" fmla="*/ 145 w 155"/>
                <a:gd name="T9" fmla="*/ 9 h 120"/>
                <a:gd name="T10" fmla="*/ 145 w 155"/>
                <a:gd name="T11" fmla="*/ 9 h 120"/>
                <a:gd name="T12" fmla="*/ 0 w 155"/>
                <a:gd name="T13" fmla="*/ 0 h 120"/>
                <a:gd name="T14" fmla="*/ 0 w 155"/>
                <a:gd name="T15" fmla="*/ 110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5" h="120">
                  <a:moveTo>
                    <a:pt x="0" y="110"/>
                  </a:moveTo>
                  <a:lnTo>
                    <a:pt x="0" y="110"/>
                  </a:lnTo>
                  <a:cubicBezTo>
                    <a:pt x="52" y="110"/>
                    <a:pt x="104" y="114"/>
                    <a:pt x="155" y="120"/>
                  </a:cubicBezTo>
                  <a:lnTo>
                    <a:pt x="155" y="120"/>
                  </a:lnTo>
                  <a:lnTo>
                    <a:pt x="145" y="9"/>
                  </a:lnTo>
                  <a:lnTo>
                    <a:pt x="145" y="9"/>
                  </a:lnTo>
                  <a:cubicBezTo>
                    <a:pt x="97" y="3"/>
                    <a:pt x="49" y="0"/>
                    <a:pt x="0" y="0"/>
                  </a:cubicBezTo>
                  <a:lnTo>
                    <a:pt x="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0" name="Freeform 81">
              <a:extLst>
                <a:ext uri="{FF2B5EF4-FFF2-40B4-BE49-F238E27FC236}">
                  <a16:creationId xmlns:a16="http://schemas.microsoft.com/office/drawing/2014/main" id="{FA28FBC1-70E8-403F-8712-3CEA24A347A7}"/>
                </a:ext>
              </a:extLst>
            </p:cNvPr>
            <p:cNvSpPr>
              <a:spLocks/>
            </p:cNvSpPr>
            <p:nvPr/>
          </p:nvSpPr>
          <p:spPr bwMode="auto">
            <a:xfrm>
              <a:off x="1587" y="1128"/>
              <a:ext cx="105" cy="74"/>
            </a:xfrm>
            <a:custGeom>
              <a:avLst/>
              <a:gdLst>
                <a:gd name="T0" fmla="*/ 0 w 176"/>
                <a:gd name="T1" fmla="*/ 110 h 123"/>
                <a:gd name="T2" fmla="*/ 0 w 176"/>
                <a:gd name="T3" fmla="*/ 110 h 123"/>
                <a:gd name="T4" fmla="*/ 176 w 176"/>
                <a:gd name="T5" fmla="*/ 123 h 123"/>
                <a:gd name="T6" fmla="*/ 176 w 176"/>
                <a:gd name="T7" fmla="*/ 123 h 123"/>
                <a:gd name="T8" fmla="*/ 165 w 176"/>
                <a:gd name="T9" fmla="*/ 11 h 123"/>
                <a:gd name="T10" fmla="*/ 165 w 176"/>
                <a:gd name="T11" fmla="*/ 11 h 123"/>
                <a:gd name="T12" fmla="*/ 0 w 176"/>
                <a:gd name="T13" fmla="*/ 0 h 123"/>
                <a:gd name="T14" fmla="*/ 0 w 176"/>
                <a:gd name="T15" fmla="*/ 110 h 1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6" h="123">
                  <a:moveTo>
                    <a:pt x="0" y="110"/>
                  </a:moveTo>
                  <a:lnTo>
                    <a:pt x="0" y="110"/>
                  </a:lnTo>
                  <a:cubicBezTo>
                    <a:pt x="60" y="111"/>
                    <a:pt x="119" y="115"/>
                    <a:pt x="176" y="123"/>
                  </a:cubicBezTo>
                  <a:lnTo>
                    <a:pt x="176" y="123"/>
                  </a:lnTo>
                  <a:lnTo>
                    <a:pt x="165" y="11"/>
                  </a:lnTo>
                  <a:lnTo>
                    <a:pt x="165" y="11"/>
                  </a:lnTo>
                  <a:cubicBezTo>
                    <a:pt x="112" y="4"/>
                    <a:pt x="56" y="1"/>
                    <a:pt x="0" y="0"/>
                  </a:cubicBezTo>
                  <a:lnTo>
                    <a:pt x="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1" name="Freeform 82">
              <a:extLst>
                <a:ext uri="{FF2B5EF4-FFF2-40B4-BE49-F238E27FC236}">
                  <a16:creationId xmlns:a16="http://schemas.microsoft.com/office/drawing/2014/main" id="{891355A2-65A8-4543-B44D-B6A3DD2F99ED}"/>
                </a:ext>
              </a:extLst>
            </p:cNvPr>
            <p:cNvSpPr>
              <a:spLocks/>
            </p:cNvSpPr>
            <p:nvPr/>
          </p:nvSpPr>
          <p:spPr bwMode="auto">
            <a:xfrm>
              <a:off x="1587" y="864"/>
              <a:ext cx="80" cy="70"/>
            </a:xfrm>
            <a:custGeom>
              <a:avLst/>
              <a:gdLst>
                <a:gd name="T0" fmla="*/ 0 w 134"/>
                <a:gd name="T1" fmla="*/ 110 h 118"/>
                <a:gd name="T2" fmla="*/ 0 w 134"/>
                <a:gd name="T3" fmla="*/ 110 h 118"/>
                <a:gd name="T4" fmla="*/ 134 w 134"/>
                <a:gd name="T5" fmla="*/ 118 h 118"/>
                <a:gd name="T6" fmla="*/ 134 w 134"/>
                <a:gd name="T7" fmla="*/ 117 h 118"/>
                <a:gd name="T8" fmla="*/ 124 w 134"/>
                <a:gd name="T9" fmla="*/ 6 h 118"/>
                <a:gd name="T10" fmla="*/ 124 w 134"/>
                <a:gd name="T11" fmla="*/ 6 h 118"/>
                <a:gd name="T12" fmla="*/ 0 w 134"/>
                <a:gd name="T13" fmla="*/ 0 h 118"/>
                <a:gd name="T14" fmla="*/ 0 w 134"/>
                <a:gd name="T15" fmla="*/ 110 h 1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18">
                  <a:moveTo>
                    <a:pt x="0" y="110"/>
                  </a:moveTo>
                  <a:lnTo>
                    <a:pt x="0" y="110"/>
                  </a:lnTo>
                  <a:cubicBezTo>
                    <a:pt x="45" y="110"/>
                    <a:pt x="90" y="113"/>
                    <a:pt x="134" y="118"/>
                  </a:cubicBezTo>
                  <a:lnTo>
                    <a:pt x="134" y="117"/>
                  </a:lnTo>
                  <a:lnTo>
                    <a:pt x="124" y="6"/>
                  </a:lnTo>
                  <a:lnTo>
                    <a:pt x="124" y="6"/>
                  </a:lnTo>
                  <a:cubicBezTo>
                    <a:pt x="83" y="2"/>
                    <a:pt x="42" y="0"/>
                    <a:pt x="0" y="0"/>
                  </a:cubicBezTo>
                  <a:lnTo>
                    <a:pt x="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2" name="Freeform 83">
              <a:extLst>
                <a:ext uri="{FF2B5EF4-FFF2-40B4-BE49-F238E27FC236}">
                  <a16:creationId xmlns:a16="http://schemas.microsoft.com/office/drawing/2014/main" id="{14831A16-F404-4099-A210-705C590ADDA8}"/>
                </a:ext>
              </a:extLst>
            </p:cNvPr>
            <p:cNvSpPr>
              <a:spLocks/>
            </p:cNvSpPr>
            <p:nvPr/>
          </p:nvSpPr>
          <p:spPr bwMode="auto">
            <a:xfrm>
              <a:off x="1742" y="1739"/>
              <a:ext cx="44" cy="77"/>
            </a:xfrm>
            <a:custGeom>
              <a:avLst/>
              <a:gdLst>
                <a:gd name="T0" fmla="*/ 73 w 73"/>
                <a:gd name="T1" fmla="*/ 129 h 129"/>
                <a:gd name="T2" fmla="*/ 73 w 73"/>
                <a:gd name="T3" fmla="*/ 129 h 129"/>
                <a:gd name="T4" fmla="*/ 73 w 73"/>
                <a:gd name="T5" fmla="*/ 19 h 129"/>
                <a:gd name="T6" fmla="*/ 0 w 73"/>
                <a:gd name="T7" fmla="*/ 0 h 129"/>
                <a:gd name="T8" fmla="*/ 10 w 73"/>
                <a:gd name="T9" fmla="*/ 113 h 129"/>
                <a:gd name="T10" fmla="*/ 73 w 73"/>
                <a:gd name="T11" fmla="*/ 129 h 129"/>
              </a:gdLst>
              <a:ahLst/>
              <a:cxnLst>
                <a:cxn ang="0">
                  <a:pos x="T0" y="T1"/>
                </a:cxn>
                <a:cxn ang="0">
                  <a:pos x="T2" y="T3"/>
                </a:cxn>
                <a:cxn ang="0">
                  <a:pos x="T4" y="T5"/>
                </a:cxn>
                <a:cxn ang="0">
                  <a:pos x="T6" y="T7"/>
                </a:cxn>
                <a:cxn ang="0">
                  <a:pos x="T8" y="T9"/>
                </a:cxn>
                <a:cxn ang="0">
                  <a:pos x="T10" y="T11"/>
                </a:cxn>
              </a:cxnLst>
              <a:rect l="0" t="0" r="r" b="b"/>
              <a:pathLst>
                <a:path w="73" h="129">
                  <a:moveTo>
                    <a:pt x="73" y="129"/>
                  </a:moveTo>
                  <a:lnTo>
                    <a:pt x="73" y="129"/>
                  </a:lnTo>
                  <a:lnTo>
                    <a:pt x="73" y="19"/>
                  </a:lnTo>
                  <a:cubicBezTo>
                    <a:pt x="49" y="12"/>
                    <a:pt x="25" y="6"/>
                    <a:pt x="0" y="0"/>
                  </a:cubicBezTo>
                  <a:lnTo>
                    <a:pt x="10" y="113"/>
                  </a:lnTo>
                  <a:cubicBezTo>
                    <a:pt x="32" y="117"/>
                    <a:pt x="53" y="123"/>
                    <a:pt x="73" y="12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3" name="Freeform 84">
              <a:extLst>
                <a:ext uri="{FF2B5EF4-FFF2-40B4-BE49-F238E27FC236}">
                  <a16:creationId xmlns:a16="http://schemas.microsoft.com/office/drawing/2014/main" id="{C00490C7-903C-4E41-8558-7548F2718E6D}"/>
                </a:ext>
              </a:extLst>
            </p:cNvPr>
            <p:cNvSpPr>
              <a:spLocks/>
            </p:cNvSpPr>
            <p:nvPr/>
          </p:nvSpPr>
          <p:spPr bwMode="auto">
            <a:xfrm>
              <a:off x="1655" y="801"/>
              <a:ext cx="131" cy="90"/>
            </a:xfrm>
            <a:custGeom>
              <a:avLst/>
              <a:gdLst>
                <a:gd name="T0" fmla="*/ 218 w 218"/>
                <a:gd name="T1" fmla="*/ 150 h 150"/>
                <a:gd name="T2" fmla="*/ 218 w 218"/>
                <a:gd name="T3" fmla="*/ 150 h 150"/>
                <a:gd name="T4" fmla="*/ 218 w 218"/>
                <a:gd name="T5" fmla="*/ 40 h 150"/>
                <a:gd name="T6" fmla="*/ 0 w 218"/>
                <a:gd name="T7" fmla="*/ 0 h 150"/>
                <a:gd name="T8" fmla="*/ 10 w 218"/>
                <a:gd name="T9" fmla="*/ 111 h 150"/>
                <a:gd name="T10" fmla="*/ 218 w 218"/>
                <a:gd name="T11" fmla="*/ 150 h 150"/>
              </a:gdLst>
              <a:ahLst/>
              <a:cxnLst>
                <a:cxn ang="0">
                  <a:pos x="T0" y="T1"/>
                </a:cxn>
                <a:cxn ang="0">
                  <a:pos x="T2" y="T3"/>
                </a:cxn>
                <a:cxn ang="0">
                  <a:pos x="T4" y="T5"/>
                </a:cxn>
                <a:cxn ang="0">
                  <a:pos x="T6" y="T7"/>
                </a:cxn>
                <a:cxn ang="0">
                  <a:pos x="T8" y="T9"/>
                </a:cxn>
                <a:cxn ang="0">
                  <a:pos x="T10" y="T11"/>
                </a:cxn>
              </a:cxnLst>
              <a:rect l="0" t="0" r="r" b="b"/>
              <a:pathLst>
                <a:path w="218" h="150">
                  <a:moveTo>
                    <a:pt x="218" y="150"/>
                  </a:moveTo>
                  <a:lnTo>
                    <a:pt x="218" y="150"/>
                  </a:lnTo>
                  <a:lnTo>
                    <a:pt x="218" y="40"/>
                  </a:lnTo>
                  <a:cubicBezTo>
                    <a:pt x="150" y="21"/>
                    <a:pt x="76" y="7"/>
                    <a:pt x="0" y="0"/>
                  </a:cubicBezTo>
                  <a:lnTo>
                    <a:pt x="10" y="111"/>
                  </a:lnTo>
                  <a:cubicBezTo>
                    <a:pt x="83" y="119"/>
                    <a:pt x="153" y="132"/>
                    <a:pt x="218" y="15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4" name="Freeform 85">
              <a:extLst>
                <a:ext uri="{FF2B5EF4-FFF2-40B4-BE49-F238E27FC236}">
                  <a16:creationId xmlns:a16="http://schemas.microsoft.com/office/drawing/2014/main" id="{CD175D86-469E-4E4D-A58B-7B3F8D999599}"/>
                </a:ext>
              </a:extLst>
            </p:cNvPr>
            <p:cNvSpPr>
              <a:spLocks/>
            </p:cNvSpPr>
            <p:nvPr/>
          </p:nvSpPr>
          <p:spPr bwMode="auto">
            <a:xfrm>
              <a:off x="1680" y="1068"/>
              <a:ext cx="106" cy="87"/>
            </a:xfrm>
            <a:custGeom>
              <a:avLst/>
              <a:gdLst>
                <a:gd name="T0" fmla="*/ 177 w 177"/>
                <a:gd name="T1" fmla="*/ 146 h 146"/>
                <a:gd name="T2" fmla="*/ 177 w 177"/>
                <a:gd name="T3" fmla="*/ 146 h 146"/>
                <a:gd name="T4" fmla="*/ 177 w 177"/>
                <a:gd name="T5" fmla="*/ 36 h 146"/>
                <a:gd name="T6" fmla="*/ 0 w 177"/>
                <a:gd name="T7" fmla="*/ 0 h 146"/>
                <a:gd name="T8" fmla="*/ 10 w 177"/>
                <a:gd name="T9" fmla="*/ 111 h 146"/>
                <a:gd name="T10" fmla="*/ 177 w 177"/>
                <a:gd name="T11" fmla="*/ 146 h 146"/>
              </a:gdLst>
              <a:ahLst/>
              <a:cxnLst>
                <a:cxn ang="0">
                  <a:pos x="T0" y="T1"/>
                </a:cxn>
                <a:cxn ang="0">
                  <a:pos x="T2" y="T3"/>
                </a:cxn>
                <a:cxn ang="0">
                  <a:pos x="T4" y="T5"/>
                </a:cxn>
                <a:cxn ang="0">
                  <a:pos x="T6" y="T7"/>
                </a:cxn>
                <a:cxn ang="0">
                  <a:pos x="T8" y="T9"/>
                </a:cxn>
                <a:cxn ang="0">
                  <a:pos x="T10" y="T11"/>
                </a:cxn>
              </a:cxnLst>
              <a:rect l="0" t="0" r="r" b="b"/>
              <a:pathLst>
                <a:path w="177" h="146">
                  <a:moveTo>
                    <a:pt x="177" y="146"/>
                  </a:moveTo>
                  <a:lnTo>
                    <a:pt x="177" y="146"/>
                  </a:lnTo>
                  <a:lnTo>
                    <a:pt x="177" y="36"/>
                  </a:lnTo>
                  <a:cubicBezTo>
                    <a:pt x="121" y="20"/>
                    <a:pt x="62" y="8"/>
                    <a:pt x="0" y="0"/>
                  </a:cubicBezTo>
                  <a:lnTo>
                    <a:pt x="10" y="111"/>
                  </a:lnTo>
                  <a:cubicBezTo>
                    <a:pt x="68" y="119"/>
                    <a:pt x="124" y="131"/>
                    <a:pt x="177" y="1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5" name="Freeform 86">
              <a:extLst>
                <a:ext uri="{FF2B5EF4-FFF2-40B4-BE49-F238E27FC236}">
                  <a16:creationId xmlns:a16="http://schemas.microsoft.com/office/drawing/2014/main" id="{E83E203A-1ED2-489F-B98D-DE982D5495D7}"/>
                </a:ext>
              </a:extLst>
            </p:cNvPr>
            <p:cNvSpPr>
              <a:spLocks/>
            </p:cNvSpPr>
            <p:nvPr/>
          </p:nvSpPr>
          <p:spPr bwMode="auto">
            <a:xfrm>
              <a:off x="1667" y="934"/>
              <a:ext cx="119" cy="89"/>
            </a:xfrm>
            <a:custGeom>
              <a:avLst/>
              <a:gdLst>
                <a:gd name="T0" fmla="*/ 198 w 198"/>
                <a:gd name="T1" fmla="*/ 147 h 147"/>
                <a:gd name="T2" fmla="*/ 198 w 198"/>
                <a:gd name="T3" fmla="*/ 147 h 147"/>
                <a:gd name="T4" fmla="*/ 198 w 198"/>
                <a:gd name="T5" fmla="*/ 37 h 147"/>
                <a:gd name="T6" fmla="*/ 0 w 198"/>
                <a:gd name="T7" fmla="*/ 0 h 147"/>
                <a:gd name="T8" fmla="*/ 11 w 198"/>
                <a:gd name="T9" fmla="*/ 111 h 147"/>
                <a:gd name="T10" fmla="*/ 198 w 198"/>
                <a:gd name="T11" fmla="*/ 147 h 147"/>
              </a:gdLst>
              <a:ahLst/>
              <a:cxnLst>
                <a:cxn ang="0">
                  <a:pos x="T0" y="T1"/>
                </a:cxn>
                <a:cxn ang="0">
                  <a:pos x="T2" y="T3"/>
                </a:cxn>
                <a:cxn ang="0">
                  <a:pos x="T4" y="T5"/>
                </a:cxn>
                <a:cxn ang="0">
                  <a:pos x="T6" y="T7"/>
                </a:cxn>
                <a:cxn ang="0">
                  <a:pos x="T8" y="T9"/>
                </a:cxn>
                <a:cxn ang="0">
                  <a:pos x="T10" y="T11"/>
                </a:cxn>
              </a:cxnLst>
              <a:rect l="0" t="0" r="r" b="b"/>
              <a:pathLst>
                <a:path w="198" h="147">
                  <a:moveTo>
                    <a:pt x="198" y="147"/>
                  </a:moveTo>
                  <a:lnTo>
                    <a:pt x="198" y="147"/>
                  </a:lnTo>
                  <a:lnTo>
                    <a:pt x="198" y="37"/>
                  </a:lnTo>
                  <a:cubicBezTo>
                    <a:pt x="136" y="20"/>
                    <a:pt x="69" y="7"/>
                    <a:pt x="0" y="0"/>
                  </a:cubicBezTo>
                  <a:lnTo>
                    <a:pt x="11" y="111"/>
                  </a:lnTo>
                  <a:cubicBezTo>
                    <a:pt x="76" y="118"/>
                    <a:pt x="139" y="131"/>
                    <a:pt x="198" y="14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6" name="Freeform 87">
              <a:extLst>
                <a:ext uri="{FF2B5EF4-FFF2-40B4-BE49-F238E27FC236}">
                  <a16:creationId xmlns:a16="http://schemas.microsoft.com/office/drawing/2014/main" id="{7AFD7817-5911-43E8-A3EE-3965BBFB17D8}"/>
                </a:ext>
              </a:extLst>
            </p:cNvPr>
            <p:cNvSpPr>
              <a:spLocks/>
            </p:cNvSpPr>
            <p:nvPr/>
          </p:nvSpPr>
          <p:spPr bwMode="auto">
            <a:xfrm>
              <a:off x="1631" y="535"/>
              <a:ext cx="155" cy="92"/>
            </a:xfrm>
            <a:custGeom>
              <a:avLst/>
              <a:gdLst>
                <a:gd name="T0" fmla="*/ 259 w 259"/>
                <a:gd name="T1" fmla="*/ 153 h 153"/>
                <a:gd name="T2" fmla="*/ 259 w 259"/>
                <a:gd name="T3" fmla="*/ 153 h 153"/>
                <a:gd name="T4" fmla="*/ 259 w 259"/>
                <a:gd name="T5" fmla="*/ 43 h 153"/>
                <a:gd name="T6" fmla="*/ 0 w 259"/>
                <a:gd name="T7" fmla="*/ 0 h 153"/>
                <a:gd name="T8" fmla="*/ 10 w 259"/>
                <a:gd name="T9" fmla="*/ 110 h 153"/>
                <a:gd name="T10" fmla="*/ 259 w 259"/>
                <a:gd name="T11" fmla="*/ 153 h 153"/>
              </a:gdLst>
              <a:ahLst/>
              <a:cxnLst>
                <a:cxn ang="0">
                  <a:pos x="T0" y="T1"/>
                </a:cxn>
                <a:cxn ang="0">
                  <a:pos x="T2" y="T3"/>
                </a:cxn>
                <a:cxn ang="0">
                  <a:pos x="T4" y="T5"/>
                </a:cxn>
                <a:cxn ang="0">
                  <a:pos x="T6" y="T7"/>
                </a:cxn>
                <a:cxn ang="0">
                  <a:pos x="T8" y="T9"/>
                </a:cxn>
                <a:cxn ang="0">
                  <a:pos x="T10" y="T11"/>
                </a:cxn>
              </a:cxnLst>
              <a:rect l="0" t="0" r="r" b="b"/>
              <a:pathLst>
                <a:path w="259" h="153">
                  <a:moveTo>
                    <a:pt x="259" y="153"/>
                  </a:moveTo>
                  <a:lnTo>
                    <a:pt x="259" y="153"/>
                  </a:lnTo>
                  <a:lnTo>
                    <a:pt x="259" y="43"/>
                  </a:lnTo>
                  <a:cubicBezTo>
                    <a:pt x="179" y="20"/>
                    <a:pt x="91" y="5"/>
                    <a:pt x="0" y="0"/>
                  </a:cubicBezTo>
                  <a:lnTo>
                    <a:pt x="10" y="110"/>
                  </a:lnTo>
                  <a:cubicBezTo>
                    <a:pt x="97" y="116"/>
                    <a:pt x="182" y="131"/>
                    <a:pt x="259" y="15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7" name="Freeform 88">
              <a:extLst>
                <a:ext uri="{FF2B5EF4-FFF2-40B4-BE49-F238E27FC236}">
                  <a16:creationId xmlns:a16="http://schemas.microsoft.com/office/drawing/2014/main" id="{3D7D8186-61D6-4B5B-BD85-9C391FC0DE5D}"/>
                </a:ext>
              </a:extLst>
            </p:cNvPr>
            <p:cNvSpPr>
              <a:spLocks/>
            </p:cNvSpPr>
            <p:nvPr/>
          </p:nvSpPr>
          <p:spPr bwMode="auto">
            <a:xfrm>
              <a:off x="1593" y="137"/>
              <a:ext cx="193" cy="93"/>
            </a:xfrm>
            <a:custGeom>
              <a:avLst/>
              <a:gdLst>
                <a:gd name="T0" fmla="*/ 321 w 321"/>
                <a:gd name="T1" fmla="*/ 155 h 155"/>
                <a:gd name="T2" fmla="*/ 321 w 321"/>
                <a:gd name="T3" fmla="*/ 155 h 155"/>
                <a:gd name="T4" fmla="*/ 321 w 321"/>
                <a:gd name="T5" fmla="*/ 45 h 155"/>
                <a:gd name="T6" fmla="*/ 0 w 321"/>
                <a:gd name="T7" fmla="*/ 0 h 155"/>
                <a:gd name="T8" fmla="*/ 10 w 321"/>
                <a:gd name="T9" fmla="*/ 110 h 155"/>
                <a:gd name="T10" fmla="*/ 321 w 321"/>
                <a:gd name="T11" fmla="*/ 155 h 155"/>
              </a:gdLst>
              <a:ahLst/>
              <a:cxnLst>
                <a:cxn ang="0">
                  <a:pos x="T0" y="T1"/>
                </a:cxn>
                <a:cxn ang="0">
                  <a:pos x="T2" y="T3"/>
                </a:cxn>
                <a:cxn ang="0">
                  <a:pos x="T4" y="T5"/>
                </a:cxn>
                <a:cxn ang="0">
                  <a:pos x="T6" y="T7"/>
                </a:cxn>
                <a:cxn ang="0">
                  <a:pos x="T8" y="T9"/>
                </a:cxn>
                <a:cxn ang="0">
                  <a:pos x="T10" y="T11"/>
                </a:cxn>
              </a:cxnLst>
              <a:rect l="0" t="0" r="r" b="b"/>
              <a:pathLst>
                <a:path w="321" h="155">
                  <a:moveTo>
                    <a:pt x="321" y="155"/>
                  </a:moveTo>
                  <a:lnTo>
                    <a:pt x="321" y="155"/>
                  </a:lnTo>
                  <a:lnTo>
                    <a:pt x="321" y="45"/>
                  </a:lnTo>
                  <a:cubicBezTo>
                    <a:pt x="223" y="17"/>
                    <a:pt x="113" y="2"/>
                    <a:pt x="0" y="0"/>
                  </a:cubicBezTo>
                  <a:lnTo>
                    <a:pt x="10" y="110"/>
                  </a:lnTo>
                  <a:cubicBezTo>
                    <a:pt x="119" y="113"/>
                    <a:pt x="226" y="128"/>
                    <a:pt x="321" y="15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8" name="Freeform 89">
              <a:extLst>
                <a:ext uri="{FF2B5EF4-FFF2-40B4-BE49-F238E27FC236}">
                  <a16:creationId xmlns:a16="http://schemas.microsoft.com/office/drawing/2014/main" id="{441B30E8-51C3-4658-A38B-F94D83635DC8}"/>
                </a:ext>
              </a:extLst>
            </p:cNvPr>
            <p:cNvSpPr>
              <a:spLocks/>
            </p:cNvSpPr>
            <p:nvPr/>
          </p:nvSpPr>
          <p:spPr bwMode="auto">
            <a:xfrm>
              <a:off x="1606" y="269"/>
              <a:ext cx="180" cy="93"/>
            </a:xfrm>
            <a:custGeom>
              <a:avLst/>
              <a:gdLst>
                <a:gd name="T0" fmla="*/ 300 w 300"/>
                <a:gd name="T1" fmla="*/ 155 h 155"/>
                <a:gd name="T2" fmla="*/ 300 w 300"/>
                <a:gd name="T3" fmla="*/ 155 h 155"/>
                <a:gd name="T4" fmla="*/ 300 w 300"/>
                <a:gd name="T5" fmla="*/ 44 h 155"/>
                <a:gd name="T6" fmla="*/ 0 w 300"/>
                <a:gd name="T7" fmla="*/ 0 h 155"/>
                <a:gd name="T8" fmla="*/ 10 w 300"/>
                <a:gd name="T9" fmla="*/ 110 h 155"/>
                <a:gd name="T10" fmla="*/ 300 w 300"/>
                <a:gd name="T11" fmla="*/ 155 h 155"/>
              </a:gdLst>
              <a:ahLst/>
              <a:cxnLst>
                <a:cxn ang="0">
                  <a:pos x="T0" y="T1"/>
                </a:cxn>
                <a:cxn ang="0">
                  <a:pos x="T2" y="T3"/>
                </a:cxn>
                <a:cxn ang="0">
                  <a:pos x="T4" y="T5"/>
                </a:cxn>
                <a:cxn ang="0">
                  <a:pos x="T6" y="T7"/>
                </a:cxn>
                <a:cxn ang="0">
                  <a:pos x="T8" y="T9"/>
                </a:cxn>
                <a:cxn ang="0">
                  <a:pos x="T10" y="T11"/>
                </a:cxn>
              </a:cxnLst>
              <a:rect l="0" t="0" r="r" b="b"/>
              <a:pathLst>
                <a:path w="300" h="155">
                  <a:moveTo>
                    <a:pt x="300" y="155"/>
                  </a:moveTo>
                  <a:lnTo>
                    <a:pt x="300" y="155"/>
                  </a:lnTo>
                  <a:lnTo>
                    <a:pt x="300" y="44"/>
                  </a:lnTo>
                  <a:cubicBezTo>
                    <a:pt x="208" y="18"/>
                    <a:pt x="105" y="3"/>
                    <a:pt x="0" y="0"/>
                  </a:cubicBezTo>
                  <a:lnTo>
                    <a:pt x="10" y="110"/>
                  </a:lnTo>
                  <a:cubicBezTo>
                    <a:pt x="112" y="114"/>
                    <a:pt x="211" y="129"/>
                    <a:pt x="300" y="15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9" name="Freeform 90">
              <a:extLst>
                <a:ext uri="{FF2B5EF4-FFF2-40B4-BE49-F238E27FC236}">
                  <a16:creationId xmlns:a16="http://schemas.microsoft.com/office/drawing/2014/main" id="{7931A694-B393-42A9-AA6D-C9EAD00AD53D}"/>
                </a:ext>
              </a:extLst>
            </p:cNvPr>
            <p:cNvSpPr>
              <a:spLocks/>
            </p:cNvSpPr>
            <p:nvPr/>
          </p:nvSpPr>
          <p:spPr bwMode="auto">
            <a:xfrm>
              <a:off x="1618" y="402"/>
              <a:ext cx="168" cy="93"/>
            </a:xfrm>
            <a:custGeom>
              <a:avLst/>
              <a:gdLst>
                <a:gd name="T0" fmla="*/ 280 w 280"/>
                <a:gd name="T1" fmla="*/ 154 h 154"/>
                <a:gd name="T2" fmla="*/ 280 w 280"/>
                <a:gd name="T3" fmla="*/ 154 h 154"/>
                <a:gd name="T4" fmla="*/ 280 w 280"/>
                <a:gd name="T5" fmla="*/ 44 h 154"/>
                <a:gd name="T6" fmla="*/ 0 w 280"/>
                <a:gd name="T7" fmla="*/ 0 h 154"/>
                <a:gd name="T8" fmla="*/ 10 w 280"/>
                <a:gd name="T9" fmla="*/ 110 h 154"/>
                <a:gd name="T10" fmla="*/ 280 w 280"/>
                <a:gd name="T11" fmla="*/ 154 h 154"/>
              </a:gdLst>
              <a:ahLst/>
              <a:cxnLst>
                <a:cxn ang="0">
                  <a:pos x="T0" y="T1"/>
                </a:cxn>
                <a:cxn ang="0">
                  <a:pos x="T2" y="T3"/>
                </a:cxn>
                <a:cxn ang="0">
                  <a:pos x="T4" y="T5"/>
                </a:cxn>
                <a:cxn ang="0">
                  <a:pos x="T6" y="T7"/>
                </a:cxn>
                <a:cxn ang="0">
                  <a:pos x="T8" y="T9"/>
                </a:cxn>
                <a:cxn ang="0">
                  <a:pos x="T10" y="T11"/>
                </a:cxn>
              </a:cxnLst>
              <a:rect l="0" t="0" r="r" b="b"/>
              <a:pathLst>
                <a:path w="280" h="154">
                  <a:moveTo>
                    <a:pt x="280" y="154"/>
                  </a:moveTo>
                  <a:lnTo>
                    <a:pt x="280" y="154"/>
                  </a:lnTo>
                  <a:lnTo>
                    <a:pt x="280" y="44"/>
                  </a:lnTo>
                  <a:cubicBezTo>
                    <a:pt x="194" y="19"/>
                    <a:pt x="98" y="4"/>
                    <a:pt x="0" y="0"/>
                  </a:cubicBezTo>
                  <a:lnTo>
                    <a:pt x="10" y="110"/>
                  </a:lnTo>
                  <a:cubicBezTo>
                    <a:pt x="105" y="115"/>
                    <a:pt x="197" y="130"/>
                    <a:pt x="280" y="15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0" name="Freeform 91">
              <a:extLst>
                <a:ext uri="{FF2B5EF4-FFF2-40B4-BE49-F238E27FC236}">
                  <a16:creationId xmlns:a16="http://schemas.microsoft.com/office/drawing/2014/main" id="{1C45CCB0-3FF7-4238-924B-3CD6F980ED29}"/>
                </a:ext>
              </a:extLst>
            </p:cNvPr>
            <p:cNvSpPr>
              <a:spLocks/>
            </p:cNvSpPr>
            <p:nvPr/>
          </p:nvSpPr>
          <p:spPr bwMode="auto">
            <a:xfrm>
              <a:off x="1643" y="667"/>
              <a:ext cx="143" cy="92"/>
            </a:xfrm>
            <a:custGeom>
              <a:avLst/>
              <a:gdLst>
                <a:gd name="T0" fmla="*/ 239 w 239"/>
                <a:gd name="T1" fmla="*/ 152 h 152"/>
                <a:gd name="T2" fmla="*/ 239 w 239"/>
                <a:gd name="T3" fmla="*/ 152 h 152"/>
                <a:gd name="T4" fmla="*/ 239 w 239"/>
                <a:gd name="T5" fmla="*/ 42 h 152"/>
                <a:gd name="T6" fmla="*/ 0 w 239"/>
                <a:gd name="T7" fmla="*/ 0 h 152"/>
                <a:gd name="T8" fmla="*/ 11 w 239"/>
                <a:gd name="T9" fmla="*/ 111 h 152"/>
                <a:gd name="T10" fmla="*/ 239 w 239"/>
                <a:gd name="T11" fmla="*/ 152 h 152"/>
              </a:gdLst>
              <a:ahLst/>
              <a:cxnLst>
                <a:cxn ang="0">
                  <a:pos x="T0" y="T1"/>
                </a:cxn>
                <a:cxn ang="0">
                  <a:pos x="T2" y="T3"/>
                </a:cxn>
                <a:cxn ang="0">
                  <a:pos x="T4" y="T5"/>
                </a:cxn>
                <a:cxn ang="0">
                  <a:pos x="T6" y="T7"/>
                </a:cxn>
                <a:cxn ang="0">
                  <a:pos x="T8" y="T9"/>
                </a:cxn>
                <a:cxn ang="0">
                  <a:pos x="T10" y="T11"/>
                </a:cxn>
              </a:cxnLst>
              <a:rect l="0" t="0" r="r" b="b"/>
              <a:pathLst>
                <a:path w="239" h="152">
                  <a:moveTo>
                    <a:pt x="239" y="152"/>
                  </a:moveTo>
                  <a:lnTo>
                    <a:pt x="239" y="152"/>
                  </a:lnTo>
                  <a:lnTo>
                    <a:pt x="239" y="42"/>
                  </a:lnTo>
                  <a:cubicBezTo>
                    <a:pt x="165" y="21"/>
                    <a:pt x="84" y="7"/>
                    <a:pt x="0" y="0"/>
                  </a:cubicBezTo>
                  <a:lnTo>
                    <a:pt x="11" y="111"/>
                  </a:lnTo>
                  <a:cubicBezTo>
                    <a:pt x="91" y="118"/>
                    <a:pt x="168" y="132"/>
                    <a:pt x="239" y="15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1" name="Freeform 92">
              <a:extLst>
                <a:ext uri="{FF2B5EF4-FFF2-40B4-BE49-F238E27FC236}">
                  <a16:creationId xmlns:a16="http://schemas.microsoft.com/office/drawing/2014/main" id="{D6486065-2202-4D9F-912F-C7DDA0607B45}"/>
                </a:ext>
              </a:extLst>
            </p:cNvPr>
            <p:cNvSpPr>
              <a:spLocks/>
            </p:cNvSpPr>
            <p:nvPr/>
          </p:nvSpPr>
          <p:spPr bwMode="auto">
            <a:xfrm>
              <a:off x="1755" y="1874"/>
              <a:ext cx="31" cy="74"/>
            </a:xfrm>
            <a:custGeom>
              <a:avLst/>
              <a:gdLst>
                <a:gd name="T0" fmla="*/ 52 w 52"/>
                <a:gd name="T1" fmla="*/ 124 h 124"/>
                <a:gd name="T2" fmla="*/ 52 w 52"/>
                <a:gd name="T3" fmla="*/ 124 h 124"/>
                <a:gd name="T4" fmla="*/ 52 w 52"/>
                <a:gd name="T5" fmla="*/ 14 h 124"/>
                <a:gd name="T6" fmla="*/ 0 w 52"/>
                <a:gd name="T7" fmla="*/ 0 h 124"/>
                <a:gd name="T8" fmla="*/ 10 w 52"/>
                <a:gd name="T9" fmla="*/ 113 h 124"/>
                <a:gd name="T10" fmla="*/ 52 w 52"/>
                <a:gd name="T11" fmla="*/ 124 h 124"/>
              </a:gdLst>
              <a:ahLst/>
              <a:cxnLst>
                <a:cxn ang="0">
                  <a:pos x="T0" y="T1"/>
                </a:cxn>
                <a:cxn ang="0">
                  <a:pos x="T2" y="T3"/>
                </a:cxn>
                <a:cxn ang="0">
                  <a:pos x="T4" y="T5"/>
                </a:cxn>
                <a:cxn ang="0">
                  <a:pos x="T6" y="T7"/>
                </a:cxn>
                <a:cxn ang="0">
                  <a:pos x="T8" y="T9"/>
                </a:cxn>
                <a:cxn ang="0">
                  <a:pos x="T10" y="T11"/>
                </a:cxn>
              </a:cxnLst>
              <a:rect l="0" t="0" r="r" b="b"/>
              <a:pathLst>
                <a:path w="52" h="124">
                  <a:moveTo>
                    <a:pt x="52" y="124"/>
                  </a:moveTo>
                  <a:lnTo>
                    <a:pt x="52" y="124"/>
                  </a:lnTo>
                  <a:lnTo>
                    <a:pt x="52" y="14"/>
                  </a:lnTo>
                  <a:cubicBezTo>
                    <a:pt x="35" y="9"/>
                    <a:pt x="18" y="4"/>
                    <a:pt x="0" y="0"/>
                  </a:cubicBezTo>
                  <a:lnTo>
                    <a:pt x="10" y="113"/>
                  </a:lnTo>
                  <a:cubicBezTo>
                    <a:pt x="24" y="116"/>
                    <a:pt x="38" y="120"/>
                    <a:pt x="52" y="1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2" name="Freeform 93">
              <a:extLst>
                <a:ext uri="{FF2B5EF4-FFF2-40B4-BE49-F238E27FC236}">
                  <a16:creationId xmlns:a16="http://schemas.microsoft.com/office/drawing/2014/main" id="{3D3CAE3E-04E7-4960-ABF5-B1D3BD6C0E1E}"/>
                </a:ext>
              </a:extLst>
            </p:cNvPr>
            <p:cNvSpPr>
              <a:spLocks/>
            </p:cNvSpPr>
            <p:nvPr/>
          </p:nvSpPr>
          <p:spPr bwMode="auto">
            <a:xfrm>
              <a:off x="1767" y="2009"/>
              <a:ext cx="19" cy="71"/>
            </a:xfrm>
            <a:custGeom>
              <a:avLst/>
              <a:gdLst>
                <a:gd name="T0" fmla="*/ 31 w 31"/>
                <a:gd name="T1" fmla="*/ 118 h 118"/>
                <a:gd name="T2" fmla="*/ 31 w 31"/>
                <a:gd name="T3" fmla="*/ 118 h 118"/>
                <a:gd name="T4" fmla="*/ 31 w 31"/>
                <a:gd name="T5" fmla="*/ 8 h 118"/>
                <a:gd name="T6" fmla="*/ 0 w 31"/>
                <a:gd name="T7" fmla="*/ 0 h 118"/>
                <a:gd name="T8" fmla="*/ 10 w 31"/>
                <a:gd name="T9" fmla="*/ 112 h 118"/>
                <a:gd name="T10" fmla="*/ 31 w 31"/>
                <a:gd name="T11" fmla="*/ 118 h 118"/>
              </a:gdLst>
              <a:ahLst/>
              <a:cxnLst>
                <a:cxn ang="0">
                  <a:pos x="T0" y="T1"/>
                </a:cxn>
                <a:cxn ang="0">
                  <a:pos x="T2" y="T3"/>
                </a:cxn>
                <a:cxn ang="0">
                  <a:pos x="T4" y="T5"/>
                </a:cxn>
                <a:cxn ang="0">
                  <a:pos x="T6" y="T7"/>
                </a:cxn>
                <a:cxn ang="0">
                  <a:pos x="T8" y="T9"/>
                </a:cxn>
                <a:cxn ang="0">
                  <a:pos x="T10" y="T11"/>
                </a:cxn>
              </a:cxnLst>
              <a:rect l="0" t="0" r="r" b="b"/>
              <a:pathLst>
                <a:path w="31" h="118">
                  <a:moveTo>
                    <a:pt x="31" y="118"/>
                  </a:moveTo>
                  <a:lnTo>
                    <a:pt x="31" y="118"/>
                  </a:lnTo>
                  <a:lnTo>
                    <a:pt x="31" y="8"/>
                  </a:lnTo>
                  <a:cubicBezTo>
                    <a:pt x="21" y="5"/>
                    <a:pt x="10" y="2"/>
                    <a:pt x="0" y="0"/>
                  </a:cubicBezTo>
                  <a:lnTo>
                    <a:pt x="10" y="112"/>
                  </a:lnTo>
                  <a:cubicBezTo>
                    <a:pt x="17" y="114"/>
                    <a:pt x="24" y="116"/>
                    <a:pt x="31" y="1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3" name="Freeform 94">
              <a:extLst>
                <a:ext uri="{FF2B5EF4-FFF2-40B4-BE49-F238E27FC236}">
                  <a16:creationId xmlns:a16="http://schemas.microsoft.com/office/drawing/2014/main" id="{839AC9B7-5035-48D7-9AA6-455531D6F014}"/>
                </a:ext>
              </a:extLst>
            </p:cNvPr>
            <p:cNvSpPr>
              <a:spLocks/>
            </p:cNvSpPr>
            <p:nvPr/>
          </p:nvSpPr>
          <p:spPr bwMode="auto">
            <a:xfrm>
              <a:off x="1705" y="1335"/>
              <a:ext cx="81" cy="84"/>
            </a:xfrm>
            <a:custGeom>
              <a:avLst/>
              <a:gdLst>
                <a:gd name="T0" fmla="*/ 135 w 135"/>
                <a:gd name="T1" fmla="*/ 140 h 140"/>
                <a:gd name="T2" fmla="*/ 135 w 135"/>
                <a:gd name="T3" fmla="*/ 140 h 140"/>
                <a:gd name="T4" fmla="*/ 135 w 135"/>
                <a:gd name="T5" fmla="*/ 30 h 140"/>
                <a:gd name="T6" fmla="*/ 0 w 135"/>
                <a:gd name="T7" fmla="*/ 0 h 140"/>
                <a:gd name="T8" fmla="*/ 10 w 135"/>
                <a:gd name="T9" fmla="*/ 112 h 140"/>
                <a:gd name="T10" fmla="*/ 135 w 135"/>
                <a:gd name="T11" fmla="*/ 140 h 140"/>
              </a:gdLst>
              <a:ahLst/>
              <a:cxnLst>
                <a:cxn ang="0">
                  <a:pos x="T0" y="T1"/>
                </a:cxn>
                <a:cxn ang="0">
                  <a:pos x="T2" y="T3"/>
                </a:cxn>
                <a:cxn ang="0">
                  <a:pos x="T4" y="T5"/>
                </a:cxn>
                <a:cxn ang="0">
                  <a:pos x="T6" y="T7"/>
                </a:cxn>
                <a:cxn ang="0">
                  <a:pos x="T8" y="T9"/>
                </a:cxn>
                <a:cxn ang="0">
                  <a:pos x="T10" y="T11"/>
                </a:cxn>
              </a:cxnLst>
              <a:rect l="0" t="0" r="r" b="b"/>
              <a:pathLst>
                <a:path w="135" h="140">
                  <a:moveTo>
                    <a:pt x="135" y="140"/>
                  </a:moveTo>
                  <a:lnTo>
                    <a:pt x="135" y="140"/>
                  </a:lnTo>
                  <a:lnTo>
                    <a:pt x="135" y="30"/>
                  </a:lnTo>
                  <a:cubicBezTo>
                    <a:pt x="92" y="18"/>
                    <a:pt x="46" y="8"/>
                    <a:pt x="0" y="0"/>
                  </a:cubicBezTo>
                  <a:lnTo>
                    <a:pt x="10" y="112"/>
                  </a:lnTo>
                  <a:cubicBezTo>
                    <a:pt x="53" y="119"/>
                    <a:pt x="95" y="129"/>
                    <a:pt x="135" y="14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4" name="Freeform 95">
              <a:extLst>
                <a:ext uri="{FF2B5EF4-FFF2-40B4-BE49-F238E27FC236}">
                  <a16:creationId xmlns:a16="http://schemas.microsoft.com/office/drawing/2014/main" id="{1B9BA54B-144B-4E47-8067-7680237A48F4}"/>
                </a:ext>
              </a:extLst>
            </p:cNvPr>
            <p:cNvSpPr>
              <a:spLocks/>
            </p:cNvSpPr>
            <p:nvPr/>
          </p:nvSpPr>
          <p:spPr bwMode="auto">
            <a:xfrm>
              <a:off x="1692" y="1202"/>
              <a:ext cx="94" cy="85"/>
            </a:xfrm>
            <a:custGeom>
              <a:avLst/>
              <a:gdLst>
                <a:gd name="T0" fmla="*/ 156 w 156"/>
                <a:gd name="T1" fmla="*/ 143 h 143"/>
                <a:gd name="T2" fmla="*/ 156 w 156"/>
                <a:gd name="T3" fmla="*/ 143 h 143"/>
                <a:gd name="T4" fmla="*/ 156 w 156"/>
                <a:gd name="T5" fmla="*/ 33 h 143"/>
                <a:gd name="T6" fmla="*/ 0 w 156"/>
                <a:gd name="T7" fmla="*/ 0 h 143"/>
                <a:gd name="T8" fmla="*/ 10 w 156"/>
                <a:gd name="T9" fmla="*/ 112 h 143"/>
                <a:gd name="T10" fmla="*/ 156 w 156"/>
                <a:gd name="T11" fmla="*/ 143 h 143"/>
              </a:gdLst>
              <a:ahLst/>
              <a:cxnLst>
                <a:cxn ang="0">
                  <a:pos x="T0" y="T1"/>
                </a:cxn>
                <a:cxn ang="0">
                  <a:pos x="T2" y="T3"/>
                </a:cxn>
                <a:cxn ang="0">
                  <a:pos x="T4" y="T5"/>
                </a:cxn>
                <a:cxn ang="0">
                  <a:pos x="T6" y="T7"/>
                </a:cxn>
                <a:cxn ang="0">
                  <a:pos x="T8" y="T9"/>
                </a:cxn>
                <a:cxn ang="0">
                  <a:pos x="T10" y="T11"/>
                </a:cxn>
              </a:cxnLst>
              <a:rect l="0" t="0" r="r" b="b"/>
              <a:pathLst>
                <a:path w="156" h="143">
                  <a:moveTo>
                    <a:pt x="156" y="143"/>
                  </a:moveTo>
                  <a:lnTo>
                    <a:pt x="156" y="143"/>
                  </a:lnTo>
                  <a:lnTo>
                    <a:pt x="156" y="33"/>
                  </a:lnTo>
                  <a:cubicBezTo>
                    <a:pt x="107" y="19"/>
                    <a:pt x="54" y="8"/>
                    <a:pt x="0" y="0"/>
                  </a:cubicBezTo>
                  <a:lnTo>
                    <a:pt x="10" y="112"/>
                  </a:lnTo>
                  <a:cubicBezTo>
                    <a:pt x="61" y="119"/>
                    <a:pt x="110" y="130"/>
                    <a:pt x="156" y="14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5" name="Freeform 96">
              <a:extLst>
                <a:ext uri="{FF2B5EF4-FFF2-40B4-BE49-F238E27FC236}">
                  <a16:creationId xmlns:a16="http://schemas.microsoft.com/office/drawing/2014/main" id="{D93C52CF-9FBA-494B-8D82-5D6926F1D019}"/>
                </a:ext>
              </a:extLst>
            </p:cNvPr>
            <p:cNvSpPr>
              <a:spLocks/>
            </p:cNvSpPr>
            <p:nvPr/>
          </p:nvSpPr>
          <p:spPr bwMode="auto">
            <a:xfrm>
              <a:off x="1717" y="1470"/>
              <a:ext cx="69" cy="81"/>
            </a:xfrm>
            <a:custGeom>
              <a:avLst/>
              <a:gdLst>
                <a:gd name="T0" fmla="*/ 115 w 115"/>
                <a:gd name="T1" fmla="*/ 136 h 136"/>
                <a:gd name="T2" fmla="*/ 115 w 115"/>
                <a:gd name="T3" fmla="*/ 136 h 136"/>
                <a:gd name="T4" fmla="*/ 115 w 115"/>
                <a:gd name="T5" fmla="*/ 26 h 136"/>
                <a:gd name="T6" fmla="*/ 0 w 115"/>
                <a:gd name="T7" fmla="*/ 0 h 136"/>
                <a:gd name="T8" fmla="*/ 11 w 115"/>
                <a:gd name="T9" fmla="*/ 112 h 136"/>
                <a:gd name="T10" fmla="*/ 115 w 115"/>
                <a:gd name="T11" fmla="*/ 136 h 136"/>
              </a:gdLst>
              <a:ahLst/>
              <a:cxnLst>
                <a:cxn ang="0">
                  <a:pos x="T0" y="T1"/>
                </a:cxn>
                <a:cxn ang="0">
                  <a:pos x="T2" y="T3"/>
                </a:cxn>
                <a:cxn ang="0">
                  <a:pos x="T4" y="T5"/>
                </a:cxn>
                <a:cxn ang="0">
                  <a:pos x="T6" y="T7"/>
                </a:cxn>
                <a:cxn ang="0">
                  <a:pos x="T8" y="T9"/>
                </a:cxn>
                <a:cxn ang="0">
                  <a:pos x="T10" y="T11"/>
                </a:cxn>
              </a:cxnLst>
              <a:rect l="0" t="0" r="r" b="b"/>
              <a:pathLst>
                <a:path w="115" h="136">
                  <a:moveTo>
                    <a:pt x="115" y="136"/>
                  </a:moveTo>
                  <a:lnTo>
                    <a:pt x="115" y="136"/>
                  </a:lnTo>
                  <a:lnTo>
                    <a:pt x="115" y="26"/>
                  </a:lnTo>
                  <a:cubicBezTo>
                    <a:pt x="78" y="16"/>
                    <a:pt x="40" y="7"/>
                    <a:pt x="0" y="0"/>
                  </a:cubicBezTo>
                  <a:lnTo>
                    <a:pt x="11" y="112"/>
                  </a:lnTo>
                  <a:cubicBezTo>
                    <a:pt x="47" y="118"/>
                    <a:pt x="82" y="127"/>
                    <a:pt x="115" y="13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6" name="Freeform 97">
              <a:extLst>
                <a:ext uri="{FF2B5EF4-FFF2-40B4-BE49-F238E27FC236}">
                  <a16:creationId xmlns:a16="http://schemas.microsoft.com/office/drawing/2014/main" id="{2B3115D3-55BD-4722-A21C-1AE57C337437}"/>
                </a:ext>
              </a:extLst>
            </p:cNvPr>
            <p:cNvSpPr>
              <a:spLocks/>
            </p:cNvSpPr>
            <p:nvPr/>
          </p:nvSpPr>
          <p:spPr bwMode="auto">
            <a:xfrm>
              <a:off x="1730" y="1604"/>
              <a:ext cx="56" cy="79"/>
            </a:xfrm>
            <a:custGeom>
              <a:avLst/>
              <a:gdLst>
                <a:gd name="T0" fmla="*/ 94 w 94"/>
                <a:gd name="T1" fmla="*/ 132 h 132"/>
                <a:gd name="T2" fmla="*/ 94 w 94"/>
                <a:gd name="T3" fmla="*/ 132 h 132"/>
                <a:gd name="T4" fmla="*/ 94 w 94"/>
                <a:gd name="T5" fmla="*/ 22 h 132"/>
                <a:gd name="T6" fmla="*/ 0 w 94"/>
                <a:gd name="T7" fmla="*/ 0 h 132"/>
                <a:gd name="T8" fmla="*/ 10 w 94"/>
                <a:gd name="T9" fmla="*/ 112 h 132"/>
                <a:gd name="T10" fmla="*/ 94 w 94"/>
                <a:gd name="T11" fmla="*/ 132 h 132"/>
              </a:gdLst>
              <a:ahLst/>
              <a:cxnLst>
                <a:cxn ang="0">
                  <a:pos x="T0" y="T1"/>
                </a:cxn>
                <a:cxn ang="0">
                  <a:pos x="T2" y="T3"/>
                </a:cxn>
                <a:cxn ang="0">
                  <a:pos x="T4" y="T5"/>
                </a:cxn>
                <a:cxn ang="0">
                  <a:pos x="T6" y="T7"/>
                </a:cxn>
                <a:cxn ang="0">
                  <a:pos x="T8" y="T9"/>
                </a:cxn>
                <a:cxn ang="0">
                  <a:pos x="T10" y="T11"/>
                </a:cxn>
              </a:cxnLst>
              <a:rect l="0" t="0" r="r" b="b"/>
              <a:pathLst>
                <a:path w="94" h="132">
                  <a:moveTo>
                    <a:pt x="94" y="132"/>
                  </a:moveTo>
                  <a:lnTo>
                    <a:pt x="94" y="132"/>
                  </a:lnTo>
                  <a:lnTo>
                    <a:pt x="94" y="22"/>
                  </a:lnTo>
                  <a:cubicBezTo>
                    <a:pt x="64" y="14"/>
                    <a:pt x="32" y="6"/>
                    <a:pt x="0" y="0"/>
                  </a:cubicBezTo>
                  <a:lnTo>
                    <a:pt x="10" y="112"/>
                  </a:lnTo>
                  <a:cubicBezTo>
                    <a:pt x="39" y="118"/>
                    <a:pt x="67" y="125"/>
                    <a:pt x="94" y="1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7" name="Freeform 98">
              <a:extLst>
                <a:ext uri="{FF2B5EF4-FFF2-40B4-BE49-F238E27FC236}">
                  <a16:creationId xmlns:a16="http://schemas.microsoft.com/office/drawing/2014/main" id="{F8906F0A-B3B3-4EB4-A1C7-74D0152343FD}"/>
                </a:ext>
              </a:extLst>
            </p:cNvPr>
            <p:cNvSpPr>
              <a:spLocks/>
            </p:cNvSpPr>
            <p:nvPr/>
          </p:nvSpPr>
          <p:spPr bwMode="auto">
            <a:xfrm>
              <a:off x="1587" y="1260"/>
              <a:ext cx="118" cy="75"/>
            </a:xfrm>
            <a:custGeom>
              <a:avLst/>
              <a:gdLst>
                <a:gd name="T0" fmla="*/ 0 w 197"/>
                <a:gd name="T1" fmla="*/ 110 h 126"/>
                <a:gd name="T2" fmla="*/ 0 w 197"/>
                <a:gd name="T3" fmla="*/ 110 h 126"/>
                <a:gd name="T4" fmla="*/ 197 w 197"/>
                <a:gd name="T5" fmla="*/ 126 h 126"/>
                <a:gd name="T6" fmla="*/ 197 w 197"/>
                <a:gd name="T7" fmla="*/ 126 h 126"/>
                <a:gd name="T8" fmla="*/ 186 w 197"/>
                <a:gd name="T9" fmla="*/ 15 h 126"/>
                <a:gd name="T10" fmla="*/ 186 w 197"/>
                <a:gd name="T11" fmla="*/ 15 h 126"/>
                <a:gd name="T12" fmla="*/ 0 w 197"/>
                <a:gd name="T13" fmla="*/ 0 h 126"/>
                <a:gd name="T14" fmla="*/ 0 w 197"/>
                <a:gd name="T15" fmla="*/ 110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 h="126">
                  <a:moveTo>
                    <a:pt x="0" y="110"/>
                  </a:moveTo>
                  <a:lnTo>
                    <a:pt x="0" y="110"/>
                  </a:lnTo>
                  <a:cubicBezTo>
                    <a:pt x="67" y="111"/>
                    <a:pt x="133" y="116"/>
                    <a:pt x="197" y="126"/>
                  </a:cubicBezTo>
                  <a:lnTo>
                    <a:pt x="197" y="126"/>
                  </a:lnTo>
                  <a:lnTo>
                    <a:pt x="186" y="15"/>
                  </a:lnTo>
                  <a:lnTo>
                    <a:pt x="186" y="15"/>
                  </a:lnTo>
                  <a:cubicBezTo>
                    <a:pt x="126" y="6"/>
                    <a:pt x="63" y="1"/>
                    <a:pt x="0" y="0"/>
                  </a:cubicBezTo>
                  <a:lnTo>
                    <a:pt x="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8" name="Freeform 99">
              <a:extLst>
                <a:ext uri="{FF2B5EF4-FFF2-40B4-BE49-F238E27FC236}">
                  <a16:creationId xmlns:a16="http://schemas.microsoft.com/office/drawing/2014/main" id="{F0956FAA-2B21-40E4-BF13-134258E4013E}"/>
                </a:ext>
              </a:extLst>
            </p:cNvPr>
            <p:cNvSpPr>
              <a:spLocks/>
            </p:cNvSpPr>
            <p:nvPr/>
          </p:nvSpPr>
          <p:spPr bwMode="auto">
            <a:xfrm>
              <a:off x="1520" y="599"/>
              <a:ext cx="56" cy="68"/>
            </a:xfrm>
            <a:custGeom>
              <a:avLst/>
              <a:gdLst>
                <a:gd name="T0" fmla="*/ 0 w 94"/>
                <a:gd name="T1" fmla="*/ 114 h 114"/>
                <a:gd name="T2" fmla="*/ 0 w 94"/>
                <a:gd name="T3" fmla="*/ 114 h 114"/>
                <a:gd name="T4" fmla="*/ 0 w 94"/>
                <a:gd name="T5" fmla="*/ 114 h 114"/>
                <a:gd name="T6" fmla="*/ 94 w 94"/>
                <a:gd name="T7" fmla="*/ 111 h 114"/>
                <a:gd name="T8" fmla="*/ 94 w 94"/>
                <a:gd name="T9" fmla="*/ 0 h 114"/>
                <a:gd name="T10" fmla="*/ 11 w 94"/>
                <a:gd name="T11" fmla="*/ 3 h 114"/>
                <a:gd name="T12" fmla="*/ 11 w 94"/>
                <a:gd name="T13" fmla="*/ 4 h 114"/>
                <a:gd name="T14" fmla="*/ 0 w 94"/>
                <a:gd name="T15" fmla="*/ 114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114">
                  <a:moveTo>
                    <a:pt x="0" y="114"/>
                  </a:moveTo>
                  <a:lnTo>
                    <a:pt x="0" y="114"/>
                  </a:lnTo>
                  <a:lnTo>
                    <a:pt x="0" y="114"/>
                  </a:lnTo>
                  <a:cubicBezTo>
                    <a:pt x="31" y="112"/>
                    <a:pt x="62" y="111"/>
                    <a:pt x="94" y="111"/>
                  </a:cubicBezTo>
                  <a:lnTo>
                    <a:pt x="94" y="0"/>
                  </a:lnTo>
                  <a:cubicBezTo>
                    <a:pt x="66" y="1"/>
                    <a:pt x="38" y="2"/>
                    <a:pt x="11" y="3"/>
                  </a:cubicBezTo>
                  <a:lnTo>
                    <a:pt x="11" y="4"/>
                  </a:lnTo>
                  <a:lnTo>
                    <a:pt x="0" y="11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9" name="Freeform 100">
              <a:extLst>
                <a:ext uri="{FF2B5EF4-FFF2-40B4-BE49-F238E27FC236}">
                  <a16:creationId xmlns:a16="http://schemas.microsoft.com/office/drawing/2014/main" id="{B846184E-14A7-404F-92DA-6FFA31931953}"/>
                </a:ext>
              </a:extLst>
            </p:cNvPr>
            <p:cNvSpPr>
              <a:spLocks/>
            </p:cNvSpPr>
            <p:nvPr/>
          </p:nvSpPr>
          <p:spPr bwMode="auto">
            <a:xfrm>
              <a:off x="1377" y="667"/>
              <a:ext cx="143" cy="92"/>
            </a:xfrm>
            <a:custGeom>
              <a:avLst/>
              <a:gdLst>
                <a:gd name="T0" fmla="*/ 0 w 238"/>
                <a:gd name="T1" fmla="*/ 152 h 152"/>
                <a:gd name="T2" fmla="*/ 0 w 238"/>
                <a:gd name="T3" fmla="*/ 152 h 152"/>
                <a:gd name="T4" fmla="*/ 228 w 238"/>
                <a:gd name="T5" fmla="*/ 111 h 152"/>
                <a:gd name="T6" fmla="*/ 238 w 238"/>
                <a:gd name="T7" fmla="*/ 0 h 152"/>
                <a:gd name="T8" fmla="*/ 0 w 238"/>
                <a:gd name="T9" fmla="*/ 42 h 152"/>
                <a:gd name="T10" fmla="*/ 0 w 238"/>
                <a:gd name="T11" fmla="*/ 152 h 152"/>
              </a:gdLst>
              <a:ahLst/>
              <a:cxnLst>
                <a:cxn ang="0">
                  <a:pos x="T0" y="T1"/>
                </a:cxn>
                <a:cxn ang="0">
                  <a:pos x="T2" y="T3"/>
                </a:cxn>
                <a:cxn ang="0">
                  <a:pos x="T4" y="T5"/>
                </a:cxn>
                <a:cxn ang="0">
                  <a:pos x="T6" y="T7"/>
                </a:cxn>
                <a:cxn ang="0">
                  <a:pos x="T8" y="T9"/>
                </a:cxn>
                <a:cxn ang="0">
                  <a:pos x="T10" y="T11"/>
                </a:cxn>
              </a:cxnLst>
              <a:rect l="0" t="0" r="r" b="b"/>
              <a:pathLst>
                <a:path w="238" h="152">
                  <a:moveTo>
                    <a:pt x="0" y="152"/>
                  </a:moveTo>
                  <a:lnTo>
                    <a:pt x="0" y="152"/>
                  </a:lnTo>
                  <a:cubicBezTo>
                    <a:pt x="71" y="132"/>
                    <a:pt x="148" y="118"/>
                    <a:pt x="228" y="111"/>
                  </a:cubicBezTo>
                  <a:lnTo>
                    <a:pt x="238" y="0"/>
                  </a:lnTo>
                  <a:cubicBezTo>
                    <a:pt x="155" y="7"/>
                    <a:pt x="74" y="21"/>
                    <a:pt x="0" y="42"/>
                  </a:cubicBezTo>
                  <a:lnTo>
                    <a:pt x="0" y="15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30" name="Freeform 101">
              <a:extLst>
                <a:ext uri="{FF2B5EF4-FFF2-40B4-BE49-F238E27FC236}">
                  <a16:creationId xmlns:a16="http://schemas.microsoft.com/office/drawing/2014/main" id="{E2EFBC29-C221-44AC-B8D1-4D7694E890BE}"/>
                </a:ext>
              </a:extLst>
            </p:cNvPr>
            <p:cNvSpPr>
              <a:spLocks/>
            </p:cNvSpPr>
            <p:nvPr/>
          </p:nvSpPr>
          <p:spPr bwMode="auto">
            <a:xfrm>
              <a:off x="1377" y="535"/>
              <a:ext cx="155" cy="92"/>
            </a:xfrm>
            <a:custGeom>
              <a:avLst/>
              <a:gdLst>
                <a:gd name="T0" fmla="*/ 0 w 259"/>
                <a:gd name="T1" fmla="*/ 153 h 153"/>
                <a:gd name="T2" fmla="*/ 0 w 259"/>
                <a:gd name="T3" fmla="*/ 153 h 153"/>
                <a:gd name="T4" fmla="*/ 249 w 259"/>
                <a:gd name="T5" fmla="*/ 110 h 153"/>
                <a:gd name="T6" fmla="*/ 259 w 259"/>
                <a:gd name="T7" fmla="*/ 0 h 153"/>
                <a:gd name="T8" fmla="*/ 0 w 259"/>
                <a:gd name="T9" fmla="*/ 43 h 153"/>
                <a:gd name="T10" fmla="*/ 0 w 259"/>
                <a:gd name="T11" fmla="*/ 153 h 153"/>
              </a:gdLst>
              <a:ahLst/>
              <a:cxnLst>
                <a:cxn ang="0">
                  <a:pos x="T0" y="T1"/>
                </a:cxn>
                <a:cxn ang="0">
                  <a:pos x="T2" y="T3"/>
                </a:cxn>
                <a:cxn ang="0">
                  <a:pos x="T4" y="T5"/>
                </a:cxn>
                <a:cxn ang="0">
                  <a:pos x="T6" y="T7"/>
                </a:cxn>
                <a:cxn ang="0">
                  <a:pos x="T8" y="T9"/>
                </a:cxn>
                <a:cxn ang="0">
                  <a:pos x="T10" y="T11"/>
                </a:cxn>
              </a:cxnLst>
              <a:rect l="0" t="0" r="r" b="b"/>
              <a:pathLst>
                <a:path w="259" h="153">
                  <a:moveTo>
                    <a:pt x="0" y="153"/>
                  </a:moveTo>
                  <a:lnTo>
                    <a:pt x="0" y="153"/>
                  </a:lnTo>
                  <a:cubicBezTo>
                    <a:pt x="77" y="131"/>
                    <a:pt x="161" y="116"/>
                    <a:pt x="249" y="110"/>
                  </a:cubicBezTo>
                  <a:lnTo>
                    <a:pt x="259" y="0"/>
                  </a:lnTo>
                  <a:cubicBezTo>
                    <a:pt x="168" y="5"/>
                    <a:pt x="80" y="20"/>
                    <a:pt x="0" y="43"/>
                  </a:cubicBezTo>
                  <a:lnTo>
                    <a:pt x="0" y="15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31" name="Freeform 102">
              <a:extLst>
                <a:ext uri="{FF2B5EF4-FFF2-40B4-BE49-F238E27FC236}">
                  <a16:creationId xmlns:a16="http://schemas.microsoft.com/office/drawing/2014/main" id="{F95E1288-10D3-4D8A-91F2-B10F7922FAF1}"/>
                </a:ext>
              </a:extLst>
            </p:cNvPr>
            <p:cNvSpPr>
              <a:spLocks/>
            </p:cNvSpPr>
            <p:nvPr/>
          </p:nvSpPr>
          <p:spPr bwMode="auto">
            <a:xfrm>
              <a:off x="1508" y="732"/>
              <a:ext cx="68" cy="69"/>
            </a:xfrm>
            <a:custGeom>
              <a:avLst/>
              <a:gdLst>
                <a:gd name="T0" fmla="*/ 0 w 114"/>
                <a:gd name="T1" fmla="*/ 115 h 115"/>
                <a:gd name="T2" fmla="*/ 0 w 114"/>
                <a:gd name="T3" fmla="*/ 115 h 115"/>
                <a:gd name="T4" fmla="*/ 0 w 114"/>
                <a:gd name="T5" fmla="*/ 115 h 115"/>
                <a:gd name="T6" fmla="*/ 114 w 114"/>
                <a:gd name="T7" fmla="*/ 110 h 115"/>
                <a:gd name="T8" fmla="*/ 114 w 114"/>
                <a:gd name="T9" fmla="*/ 0 h 115"/>
                <a:gd name="T10" fmla="*/ 10 w 114"/>
                <a:gd name="T11" fmla="*/ 4 h 115"/>
                <a:gd name="T12" fmla="*/ 10 w 114"/>
                <a:gd name="T13" fmla="*/ 4 h 115"/>
                <a:gd name="T14" fmla="*/ 0 w 114"/>
                <a:gd name="T15" fmla="*/ 115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115">
                  <a:moveTo>
                    <a:pt x="0" y="115"/>
                  </a:moveTo>
                  <a:lnTo>
                    <a:pt x="0" y="115"/>
                  </a:lnTo>
                  <a:lnTo>
                    <a:pt x="0" y="115"/>
                  </a:lnTo>
                  <a:cubicBezTo>
                    <a:pt x="37" y="112"/>
                    <a:pt x="75" y="110"/>
                    <a:pt x="114" y="110"/>
                  </a:cubicBezTo>
                  <a:lnTo>
                    <a:pt x="114" y="0"/>
                  </a:lnTo>
                  <a:cubicBezTo>
                    <a:pt x="79" y="0"/>
                    <a:pt x="44" y="1"/>
                    <a:pt x="10" y="4"/>
                  </a:cubicBezTo>
                  <a:lnTo>
                    <a:pt x="10" y="4"/>
                  </a:lnTo>
                  <a:lnTo>
                    <a:pt x="0" y="11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32" name="Freeform 103">
              <a:extLst>
                <a:ext uri="{FF2B5EF4-FFF2-40B4-BE49-F238E27FC236}">
                  <a16:creationId xmlns:a16="http://schemas.microsoft.com/office/drawing/2014/main" id="{460FB3C9-3056-4D82-9DBB-4CB492F72C5F}"/>
                </a:ext>
              </a:extLst>
            </p:cNvPr>
            <p:cNvSpPr>
              <a:spLocks/>
            </p:cNvSpPr>
            <p:nvPr/>
          </p:nvSpPr>
          <p:spPr bwMode="auto">
            <a:xfrm>
              <a:off x="1377" y="934"/>
              <a:ext cx="118" cy="89"/>
            </a:xfrm>
            <a:custGeom>
              <a:avLst/>
              <a:gdLst>
                <a:gd name="T0" fmla="*/ 0 w 197"/>
                <a:gd name="T1" fmla="*/ 147 h 147"/>
                <a:gd name="T2" fmla="*/ 0 w 197"/>
                <a:gd name="T3" fmla="*/ 147 h 147"/>
                <a:gd name="T4" fmla="*/ 187 w 197"/>
                <a:gd name="T5" fmla="*/ 111 h 147"/>
                <a:gd name="T6" fmla="*/ 197 w 197"/>
                <a:gd name="T7" fmla="*/ 0 h 147"/>
                <a:gd name="T8" fmla="*/ 0 w 197"/>
                <a:gd name="T9" fmla="*/ 37 h 147"/>
                <a:gd name="T10" fmla="*/ 0 w 197"/>
                <a:gd name="T11" fmla="*/ 147 h 147"/>
              </a:gdLst>
              <a:ahLst/>
              <a:cxnLst>
                <a:cxn ang="0">
                  <a:pos x="T0" y="T1"/>
                </a:cxn>
                <a:cxn ang="0">
                  <a:pos x="T2" y="T3"/>
                </a:cxn>
                <a:cxn ang="0">
                  <a:pos x="T4" y="T5"/>
                </a:cxn>
                <a:cxn ang="0">
                  <a:pos x="T6" y="T7"/>
                </a:cxn>
                <a:cxn ang="0">
                  <a:pos x="T8" y="T9"/>
                </a:cxn>
                <a:cxn ang="0">
                  <a:pos x="T10" y="T11"/>
                </a:cxn>
              </a:cxnLst>
              <a:rect l="0" t="0" r="r" b="b"/>
              <a:pathLst>
                <a:path w="197" h="147">
                  <a:moveTo>
                    <a:pt x="0" y="147"/>
                  </a:moveTo>
                  <a:lnTo>
                    <a:pt x="0" y="147"/>
                  </a:lnTo>
                  <a:cubicBezTo>
                    <a:pt x="58" y="131"/>
                    <a:pt x="121" y="118"/>
                    <a:pt x="187" y="111"/>
                  </a:cubicBezTo>
                  <a:lnTo>
                    <a:pt x="197" y="0"/>
                  </a:lnTo>
                  <a:cubicBezTo>
                    <a:pt x="128" y="7"/>
                    <a:pt x="61" y="20"/>
                    <a:pt x="0" y="37"/>
                  </a:cubicBezTo>
                  <a:lnTo>
                    <a:pt x="0" y="14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33" name="Freeform 104">
              <a:extLst>
                <a:ext uri="{FF2B5EF4-FFF2-40B4-BE49-F238E27FC236}">
                  <a16:creationId xmlns:a16="http://schemas.microsoft.com/office/drawing/2014/main" id="{E2BF622E-9634-45B5-9FE3-81002FC1ABAE}"/>
                </a:ext>
              </a:extLst>
            </p:cNvPr>
            <p:cNvSpPr>
              <a:spLocks/>
            </p:cNvSpPr>
            <p:nvPr/>
          </p:nvSpPr>
          <p:spPr bwMode="auto">
            <a:xfrm>
              <a:off x="1483" y="996"/>
              <a:ext cx="93" cy="72"/>
            </a:xfrm>
            <a:custGeom>
              <a:avLst/>
              <a:gdLst>
                <a:gd name="T0" fmla="*/ 0 w 156"/>
                <a:gd name="T1" fmla="*/ 120 h 120"/>
                <a:gd name="T2" fmla="*/ 0 w 156"/>
                <a:gd name="T3" fmla="*/ 120 h 120"/>
                <a:gd name="T4" fmla="*/ 0 w 156"/>
                <a:gd name="T5" fmla="*/ 120 h 120"/>
                <a:gd name="T6" fmla="*/ 156 w 156"/>
                <a:gd name="T7" fmla="*/ 110 h 120"/>
                <a:gd name="T8" fmla="*/ 156 w 156"/>
                <a:gd name="T9" fmla="*/ 0 h 120"/>
                <a:gd name="T10" fmla="*/ 11 w 156"/>
                <a:gd name="T11" fmla="*/ 9 h 120"/>
                <a:gd name="T12" fmla="*/ 11 w 156"/>
                <a:gd name="T13" fmla="*/ 9 h 120"/>
                <a:gd name="T14" fmla="*/ 0 w 156"/>
                <a:gd name="T15" fmla="*/ 120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 h="120">
                  <a:moveTo>
                    <a:pt x="0" y="120"/>
                  </a:moveTo>
                  <a:lnTo>
                    <a:pt x="0" y="120"/>
                  </a:lnTo>
                  <a:lnTo>
                    <a:pt x="0" y="120"/>
                  </a:lnTo>
                  <a:cubicBezTo>
                    <a:pt x="51" y="114"/>
                    <a:pt x="103" y="110"/>
                    <a:pt x="156" y="110"/>
                  </a:cubicBezTo>
                  <a:lnTo>
                    <a:pt x="156" y="0"/>
                  </a:lnTo>
                  <a:cubicBezTo>
                    <a:pt x="107" y="0"/>
                    <a:pt x="58" y="3"/>
                    <a:pt x="11" y="9"/>
                  </a:cubicBezTo>
                  <a:lnTo>
                    <a:pt x="11" y="9"/>
                  </a:lnTo>
                  <a:lnTo>
                    <a:pt x="0" y="1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34" name="Freeform 105">
              <a:extLst>
                <a:ext uri="{FF2B5EF4-FFF2-40B4-BE49-F238E27FC236}">
                  <a16:creationId xmlns:a16="http://schemas.microsoft.com/office/drawing/2014/main" id="{62D42502-0041-4BD9-BA0B-7D91835D69E9}"/>
                </a:ext>
              </a:extLst>
            </p:cNvPr>
            <p:cNvSpPr>
              <a:spLocks/>
            </p:cNvSpPr>
            <p:nvPr/>
          </p:nvSpPr>
          <p:spPr bwMode="auto">
            <a:xfrm>
              <a:off x="1377" y="801"/>
              <a:ext cx="131" cy="90"/>
            </a:xfrm>
            <a:custGeom>
              <a:avLst/>
              <a:gdLst>
                <a:gd name="T0" fmla="*/ 0 w 218"/>
                <a:gd name="T1" fmla="*/ 150 h 150"/>
                <a:gd name="T2" fmla="*/ 0 w 218"/>
                <a:gd name="T3" fmla="*/ 150 h 150"/>
                <a:gd name="T4" fmla="*/ 207 w 218"/>
                <a:gd name="T5" fmla="*/ 111 h 150"/>
                <a:gd name="T6" fmla="*/ 218 w 218"/>
                <a:gd name="T7" fmla="*/ 0 h 150"/>
                <a:gd name="T8" fmla="*/ 0 w 218"/>
                <a:gd name="T9" fmla="*/ 40 h 150"/>
                <a:gd name="T10" fmla="*/ 0 w 218"/>
                <a:gd name="T11" fmla="*/ 150 h 150"/>
              </a:gdLst>
              <a:ahLst/>
              <a:cxnLst>
                <a:cxn ang="0">
                  <a:pos x="T0" y="T1"/>
                </a:cxn>
                <a:cxn ang="0">
                  <a:pos x="T2" y="T3"/>
                </a:cxn>
                <a:cxn ang="0">
                  <a:pos x="T4" y="T5"/>
                </a:cxn>
                <a:cxn ang="0">
                  <a:pos x="T6" y="T7"/>
                </a:cxn>
                <a:cxn ang="0">
                  <a:pos x="T8" y="T9"/>
                </a:cxn>
                <a:cxn ang="0">
                  <a:pos x="T10" y="T11"/>
                </a:cxn>
              </a:cxnLst>
              <a:rect l="0" t="0" r="r" b="b"/>
              <a:pathLst>
                <a:path w="218" h="150">
                  <a:moveTo>
                    <a:pt x="0" y="150"/>
                  </a:moveTo>
                  <a:lnTo>
                    <a:pt x="0" y="150"/>
                  </a:lnTo>
                  <a:cubicBezTo>
                    <a:pt x="64" y="132"/>
                    <a:pt x="135" y="119"/>
                    <a:pt x="207" y="111"/>
                  </a:cubicBezTo>
                  <a:lnTo>
                    <a:pt x="218" y="0"/>
                  </a:lnTo>
                  <a:cubicBezTo>
                    <a:pt x="141" y="7"/>
                    <a:pt x="67" y="21"/>
                    <a:pt x="0" y="40"/>
                  </a:cubicBezTo>
                  <a:lnTo>
                    <a:pt x="0" y="15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35" name="Freeform 106">
              <a:extLst>
                <a:ext uri="{FF2B5EF4-FFF2-40B4-BE49-F238E27FC236}">
                  <a16:creationId xmlns:a16="http://schemas.microsoft.com/office/drawing/2014/main" id="{5529DD46-B4E3-4071-9D4D-28D5A2C17E7A}"/>
                </a:ext>
              </a:extLst>
            </p:cNvPr>
            <p:cNvSpPr>
              <a:spLocks/>
            </p:cNvSpPr>
            <p:nvPr/>
          </p:nvSpPr>
          <p:spPr bwMode="auto">
            <a:xfrm>
              <a:off x="1495" y="864"/>
              <a:ext cx="81" cy="70"/>
            </a:xfrm>
            <a:custGeom>
              <a:avLst/>
              <a:gdLst>
                <a:gd name="T0" fmla="*/ 0 w 135"/>
                <a:gd name="T1" fmla="*/ 117 h 118"/>
                <a:gd name="T2" fmla="*/ 0 w 135"/>
                <a:gd name="T3" fmla="*/ 117 h 118"/>
                <a:gd name="T4" fmla="*/ 0 w 135"/>
                <a:gd name="T5" fmla="*/ 118 h 118"/>
                <a:gd name="T6" fmla="*/ 135 w 135"/>
                <a:gd name="T7" fmla="*/ 110 h 118"/>
                <a:gd name="T8" fmla="*/ 135 w 135"/>
                <a:gd name="T9" fmla="*/ 0 h 118"/>
                <a:gd name="T10" fmla="*/ 10 w 135"/>
                <a:gd name="T11" fmla="*/ 6 h 118"/>
                <a:gd name="T12" fmla="*/ 10 w 135"/>
                <a:gd name="T13" fmla="*/ 6 h 118"/>
                <a:gd name="T14" fmla="*/ 0 w 135"/>
                <a:gd name="T15" fmla="*/ 117 h 1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118">
                  <a:moveTo>
                    <a:pt x="0" y="117"/>
                  </a:moveTo>
                  <a:lnTo>
                    <a:pt x="0" y="117"/>
                  </a:lnTo>
                  <a:lnTo>
                    <a:pt x="0" y="118"/>
                  </a:lnTo>
                  <a:cubicBezTo>
                    <a:pt x="44" y="113"/>
                    <a:pt x="89" y="110"/>
                    <a:pt x="135" y="110"/>
                  </a:cubicBezTo>
                  <a:lnTo>
                    <a:pt x="135" y="0"/>
                  </a:lnTo>
                  <a:cubicBezTo>
                    <a:pt x="93" y="0"/>
                    <a:pt x="51" y="2"/>
                    <a:pt x="10" y="6"/>
                  </a:cubicBezTo>
                  <a:lnTo>
                    <a:pt x="10" y="6"/>
                  </a:lnTo>
                  <a:lnTo>
                    <a:pt x="0" y="11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36" name="Freeform 107">
              <a:extLst>
                <a:ext uri="{FF2B5EF4-FFF2-40B4-BE49-F238E27FC236}">
                  <a16:creationId xmlns:a16="http://schemas.microsoft.com/office/drawing/2014/main" id="{7A626E97-FC25-43B2-AE45-A817858A9452}"/>
                </a:ext>
              </a:extLst>
            </p:cNvPr>
            <p:cNvSpPr>
              <a:spLocks/>
            </p:cNvSpPr>
            <p:nvPr/>
          </p:nvSpPr>
          <p:spPr bwMode="auto">
            <a:xfrm>
              <a:off x="1532" y="467"/>
              <a:ext cx="44" cy="68"/>
            </a:xfrm>
            <a:custGeom>
              <a:avLst/>
              <a:gdLst>
                <a:gd name="T0" fmla="*/ 0 w 73"/>
                <a:gd name="T1" fmla="*/ 113 h 113"/>
                <a:gd name="T2" fmla="*/ 0 w 73"/>
                <a:gd name="T3" fmla="*/ 113 h 113"/>
                <a:gd name="T4" fmla="*/ 0 w 73"/>
                <a:gd name="T5" fmla="*/ 113 h 113"/>
                <a:gd name="T6" fmla="*/ 73 w 73"/>
                <a:gd name="T7" fmla="*/ 110 h 113"/>
                <a:gd name="T8" fmla="*/ 73 w 73"/>
                <a:gd name="T9" fmla="*/ 0 h 113"/>
                <a:gd name="T10" fmla="*/ 10 w 73"/>
                <a:gd name="T11" fmla="*/ 2 h 113"/>
                <a:gd name="T12" fmla="*/ 10 w 73"/>
                <a:gd name="T13" fmla="*/ 2 h 113"/>
                <a:gd name="T14" fmla="*/ 0 w 73"/>
                <a:gd name="T15" fmla="*/ 113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113">
                  <a:moveTo>
                    <a:pt x="0" y="113"/>
                  </a:moveTo>
                  <a:lnTo>
                    <a:pt x="0" y="113"/>
                  </a:lnTo>
                  <a:lnTo>
                    <a:pt x="0" y="113"/>
                  </a:lnTo>
                  <a:cubicBezTo>
                    <a:pt x="24" y="111"/>
                    <a:pt x="48" y="111"/>
                    <a:pt x="73" y="110"/>
                  </a:cubicBezTo>
                  <a:lnTo>
                    <a:pt x="73" y="0"/>
                  </a:lnTo>
                  <a:cubicBezTo>
                    <a:pt x="52" y="0"/>
                    <a:pt x="31" y="1"/>
                    <a:pt x="10" y="2"/>
                  </a:cubicBezTo>
                  <a:lnTo>
                    <a:pt x="10" y="2"/>
                  </a:lnTo>
                  <a:lnTo>
                    <a:pt x="0" y="11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37" name="Freeform 108">
              <a:extLst>
                <a:ext uri="{FF2B5EF4-FFF2-40B4-BE49-F238E27FC236}">
                  <a16:creationId xmlns:a16="http://schemas.microsoft.com/office/drawing/2014/main" id="{E6A5A9F1-52E1-4263-A4F5-38C9650DCB0A}"/>
                </a:ext>
              </a:extLst>
            </p:cNvPr>
            <p:cNvSpPr>
              <a:spLocks/>
            </p:cNvSpPr>
            <p:nvPr/>
          </p:nvSpPr>
          <p:spPr bwMode="auto">
            <a:xfrm>
              <a:off x="1377" y="5"/>
              <a:ext cx="204" cy="93"/>
            </a:xfrm>
            <a:custGeom>
              <a:avLst/>
              <a:gdLst>
                <a:gd name="T0" fmla="*/ 0 w 341"/>
                <a:gd name="T1" fmla="*/ 45 h 155"/>
                <a:gd name="T2" fmla="*/ 0 w 341"/>
                <a:gd name="T3" fmla="*/ 45 h 155"/>
                <a:gd name="T4" fmla="*/ 0 w 341"/>
                <a:gd name="T5" fmla="*/ 155 h 155"/>
                <a:gd name="T6" fmla="*/ 331 w 341"/>
                <a:gd name="T7" fmla="*/ 110 h 155"/>
                <a:gd name="T8" fmla="*/ 341 w 341"/>
                <a:gd name="T9" fmla="*/ 0 h 155"/>
                <a:gd name="T10" fmla="*/ 0 w 341"/>
                <a:gd name="T11" fmla="*/ 45 h 155"/>
              </a:gdLst>
              <a:ahLst/>
              <a:cxnLst>
                <a:cxn ang="0">
                  <a:pos x="T0" y="T1"/>
                </a:cxn>
                <a:cxn ang="0">
                  <a:pos x="T2" y="T3"/>
                </a:cxn>
                <a:cxn ang="0">
                  <a:pos x="T4" y="T5"/>
                </a:cxn>
                <a:cxn ang="0">
                  <a:pos x="T6" y="T7"/>
                </a:cxn>
                <a:cxn ang="0">
                  <a:pos x="T8" y="T9"/>
                </a:cxn>
                <a:cxn ang="0">
                  <a:pos x="T10" y="T11"/>
                </a:cxn>
              </a:cxnLst>
              <a:rect l="0" t="0" r="r" b="b"/>
              <a:pathLst>
                <a:path w="341" h="155">
                  <a:moveTo>
                    <a:pt x="0" y="45"/>
                  </a:moveTo>
                  <a:lnTo>
                    <a:pt x="0" y="45"/>
                  </a:lnTo>
                  <a:lnTo>
                    <a:pt x="0" y="155"/>
                  </a:lnTo>
                  <a:cubicBezTo>
                    <a:pt x="101" y="126"/>
                    <a:pt x="214" y="110"/>
                    <a:pt x="331" y="110"/>
                  </a:cubicBezTo>
                  <a:lnTo>
                    <a:pt x="341" y="0"/>
                  </a:lnTo>
                  <a:cubicBezTo>
                    <a:pt x="221" y="0"/>
                    <a:pt x="104" y="15"/>
                    <a:pt x="0" y="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38" name="Freeform 109">
              <a:extLst>
                <a:ext uri="{FF2B5EF4-FFF2-40B4-BE49-F238E27FC236}">
                  <a16:creationId xmlns:a16="http://schemas.microsoft.com/office/drawing/2014/main" id="{C2054F5B-88B5-4C55-9884-0ECB0EEAA8D5}"/>
                </a:ext>
              </a:extLst>
            </p:cNvPr>
            <p:cNvSpPr>
              <a:spLocks/>
            </p:cNvSpPr>
            <p:nvPr/>
          </p:nvSpPr>
          <p:spPr bwMode="auto">
            <a:xfrm>
              <a:off x="1569" y="71"/>
              <a:ext cx="24" cy="66"/>
            </a:xfrm>
            <a:custGeom>
              <a:avLst/>
              <a:gdLst>
                <a:gd name="T0" fmla="*/ 11 w 41"/>
                <a:gd name="T1" fmla="*/ 0 h 110"/>
                <a:gd name="T2" fmla="*/ 11 w 41"/>
                <a:gd name="T3" fmla="*/ 0 h 110"/>
                <a:gd name="T4" fmla="*/ 11 w 41"/>
                <a:gd name="T5" fmla="*/ 0 h 110"/>
                <a:gd name="T6" fmla="*/ 0 w 41"/>
                <a:gd name="T7" fmla="*/ 110 h 110"/>
                <a:gd name="T8" fmla="*/ 0 w 41"/>
                <a:gd name="T9" fmla="*/ 110 h 110"/>
                <a:gd name="T10" fmla="*/ 21 w 41"/>
                <a:gd name="T11" fmla="*/ 110 h 110"/>
                <a:gd name="T12" fmla="*/ 41 w 41"/>
                <a:gd name="T13" fmla="*/ 110 h 110"/>
                <a:gd name="T14" fmla="*/ 41 w 41"/>
                <a:gd name="T15" fmla="*/ 110 h 110"/>
                <a:gd name="T16" fmla="*/ 31 w 41"/>
                <a:gd name="T17" fmla="*/ 0 h 110"/>
                <a:gd name="T18" fmla="*/ 31 w 41"/>
                <a:gd name="T19" fmla="*/ 0 h 110"/>
                <a:gd name="T20" fmla="*/ 21 w 41"/>
                <a:gd name="T21" fmla="*/ 0 h 110"/>
                <a:gd name="T22" fmla="*/ 11 w 41"/>
                <a:gd name="T23"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110">
                  <a:moveTo>
                    <a:pt x="11" y="0"/>
                  </a:moveTo>
                  <a:lnTo>
                    <a:pt x="11" y="0"/>
                  </a:lnTo>
                  <a:lnTo>
                    <a:pt x="11" y="0"/>
                  </a:lnTo>
                  <a:lnTo>
                    <a:pt x="0" y="110"/>
                  </a:lnTo>
                  <a:lnTo>
                    <a:pt x="0" y="110"/>
                  </a:lnTo>
                  <a:cubicBezTo>
                    <a:pt x="7" y="110"/>
                    <a:pt x="14" y="110"/>
                    <a:pt x="21" y="110"/>
                  </a:cubicBezTo>
                  <a:cubicBezTo>
                    <a:pt x="28" y="110"/>
                    <a:pt x="34" y="110"/>
                    <a:pt x="41" y="110"/>
                  </a:cubicBezTo>
                  <a:lnTo>
                    <a:pt x="41" y="110"/>
                  </a:lnTo>
                  <a:lnTo>
                    <a:pt x="31" y="0"/>
                  </a:lnTo>
                  <a:lnTo>
                    <a:pt x="31" y="0"/>
                  </a:lnTo>
                  <a:cubicBezTo>
                    <a:pt x="28" y="0"/>
                    <a:pt x="24" y="0"/>
                    <a:pt x="21" y="0"/>
                  </a:cubicBezTo>
                  <a:cubicBezTo>
                    <a:pt x="17" y="0"/>
                    <a:pt x="14" y="0"/>
                    <a:pt x="1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39" name="Freeform 110">
              <a:extLst>
                <a:ext uri="{FF2B5EF4-FFF2-40B4-BE49-F238E27FC236}">
                  <a16:creationId xmlns:a16="http://schemas.microsoft.com/office/drawing/2014/main" id="{AE9229EA-4AA7-4681-9174-E54D71BF9CC5}"/>
                </a:ext>
              </a:extLst>
            </p:cNvPr>
            <p:cNvSpPr>
              <a:spLocks/>
            </p:cNvSpPr>
            <p:nvPr/>
          </p:nvSpPr>
          <p:spPr bwMode="auto">
            <a:xfrm>
              <a:off x="1377" y="137"/>
              <a:ext cx="192" cy="93"/>
            </a:xfrm>
            <a:custGeom>
              <a:avLst/>
              <a:gdLst>
                <a:gd name="T0" fmla="*/ 0 w 320"/>
                <a:gd name="T1" fmla="*/ 155 h 155"/>
                <a:gd name="T2" fmla="*/ 0 w 320"/>
                <a:gd name="T3" fmla="*/ 155 h 155"/>
                <a:gd name="T4" fmla="*/ 310 w 320"/>
                <a:gd name="T5" fmla="*/ 110 h 155"/>
                <a:gd name="T6" fmla="*/ 320 w 320"/>
                <a:gd name="T7" fmla="*/ 0 h 155"/>
                <a:gd name="T8" fmla="*/ 0 w 320"/>
                <a:gd name="T9" fmla="*/ 45 h 155"/>
                <a:gd name="T10" fmla="*/ 0 w 320"/>
                <a:gd name="T11" fmla="*/ 155 h 155"/>
              </a:gdLst>
              <a:ahLst/>
              <a:cxnLst>
                <a:cxn ang="0">
                  <a:pos x="T0" y="T1"/>
                </a:cxn>
                <a:cxn ang="0">
                  <a:pos x="T2" y="T3"/>
                </a:cxn>
                <a:cxn ang="0">
                  <a:pos x="T4" y="T5"/>
                </a:cxn>
                <a:cxn ang="0">
                  <a:pos x="T6" y="T7"/>
                </a:cxn>
                <a:cxn ang="0">
                  <a:pos x="T8" y="T9"/>
                </a:cxn>
                <a:cxn ang="0">
                  <a:pos x="T10" y="T11"/>
                </a:cxn>
              </a:cxnLst>
              <a:rect l="0" t="0" r="r" b="b"/>
              <a:pathLst>
                <a:path w="320" h="155">
                  <a:moveTo>
                    <a:pt x="0" y="155"/>
                  </a:moveTo>
                  <a:lnTo>
                    <a:pt x="0" y="155"/>
                  </a:lnTo>
                  <a:cubicBezTo>
                    <a:pt x="95" y="128"/>
                    <a:pt x="201" y="113"/>
                    <a:pt x="310" y="110"/>
                  </a:cubicBezTo>
                  <a:lnTo>
                    <a:pt x="320" y="0"/>
                  </a:lnTo>
                  <a:cubicBezTo>
                    <a:pt x="208" y="2"/>
                    <a:pt x="98" y="17"/>
                    <a:pt x="0" y="45"/>
                  </a:cubicBezTo>
                  <a:lnTo>
                    <a:pt x="0" y="15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40" name="Freeform 111">
              <a:extLst>
                <a:ext uri="{FF2B5EF4-FFF2-40B4-BE49-F238E27FC236}">
                  <a16:creationId xmlns:a16="http://schemas.microsoft.com/office/drawing/2014/main" id="{A47D59D6-B72B-450E-A87A-ED57ACE56622}"/>
                </a:ext>
              </a:extLst>
            </p:cNvPr>
            <p:cNvSpPr>
              <a:spLocks/>
            </p:cNvSpPr>
            <p:nvPr/>
          </p:nvSpPr>
          <p:spPr bwMode="auto">
            <a:xfrm>
              <a:off x="1581" y="5"/>
              <a:ext cx="205" cy="93"/>
            </a:xfrm>
            <a:custGeom>
              <a:avLst/>
              <a:gdLst>
                <a:gd name="T0" fmla="*/ 341 w 341"/>
                <a:gd name="T1" fmla="*/ 45 h 155"/>
                <a:gd name="T2" fmla="*/ 341 w 341"/>
                <a:gd name="T3" fmla="*/ 45 h 155"/>
                <a:gd name="T4" fmla="*/ 0 w 341"/>
                <a:gd name="T5" fmla="*/ 0 h 155"/>
                <a:gd name="T6" fmla="*/ 10 w 341"/>
                <a:gd name="T7" fmla="*/ 110 h 155"/>
                <a:gd name="T8" fmla="*/ 341 w 341"/>
                <a:gd name="T9" fmla="*/ 155 h 155"/>
                <a:gd name="T10" fmla="*/ 341 w 341"/>
                <a:gd name="T11" fmla="*/ 45 h 155"/>
              </a:gdLst>
              <a:ahLst/>
              <a:cxnLst>
                <a:cxn ang="0">
                  <a:pos x="T0" y="T1"/>
                </a:cxn>
                <a:cxn ang="0">
                  <a:pos x="T2" y="T3"/>
                </a:cxn>
                <a:cxn ang="0">
                  <a:pos x="T4" y="T5"/>
                </a:cxn>
                <a:cxn ang="0">
                  <a:pos x="T6" y="T7"/>
                </a:cxn>
                <a:cxn ang="0">
                  <a:pos x="T8" y="T9"/>
                </a:cxn>
                <a:cxn ang="0">
                  <a:pos x="T10" y="T11"/>
                </a:cxn>
              </a:cxnLst>
              <a:rect l="0" t="0" r="r" b="b"/>
              <a:pathLst>
                <a:path w="341" h="155">
                  <a:moveTo>
                    <a:pt x="341" y="45"/>
                  </a:moveTo>
                  <a:lnTo>
                    <a:pt x="341" y="45"/>
                  </a:lnTo>
                  <a:cubicBezTo>
                    <a:pt x="237" y="15"/>
                    <a:pt x="119" y="0"/>
                    <a:pt x="0" y="0"/>
                  </a:cubicBezTo>
                  <a:lnTo>
                    <a:pt x="10" y="110"/>
                  </a:lnTo>
                  <a:cubicBezTo>
                    <a:pt x="126" y="110"/>
                    <a:pt x="240" y="126"/>
                    <a:pt x="341" y="155"/>
                  </a:cubicBezTo>
                  <a:lnTo>
                    <a:pt x="341" y="4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41" name="Freeform 112">
              <a:extLst>
                <a:ext uri="{FF2B5EF4-FFF2-40B4-BE49-F238E27FC236}">
                  <a16:creationId xmlns:a16="http://schemas.microsoft.com/office/drawing/2014/main" id="{8F06A84D-4F0F-497D-946E-7DFD99736C2C}"/>
                </a:ext>
              </a:extLst>
            </p:cNvPr>
            <p:cNvSpPr>
              <a:spLocks/>
            </p:cNvSpPr>
            <p:nvPr/>
          </p:nvSpPr>
          <p:spPr bwMode="auto">
            <a:xfrm>
              <a:off x="1377" y="402"/>
              <a:ext cx="167" cy="93"/>
            </a:xfrm>
            <a:custGeom>
              <a:avLst/>
              <a:gdLst>
                <a:gd name="T0" fmla="*/ 0 w 279"/>
                <a:gd name="T1" fmla="*/ 154 h 154"/>
                <a:gd name="T2" fmla="*/ 0 w 279"/>
                <a:gd name="T3" fmla="*/ 154 h 154"/>
                <a:gd name="T4" fmla="*/ 269 w 279"/>
                <a:gd name="T5" fmla="*/ 110 h 154"/>
                <a:gd name="T6" fmla="*/ 279 w 279"/>
                <a:gd name="T7" fmla="*/ 0 h 154"/>
                <a:gd name="T8" fmla="*/ 0 w 279"/>
                <a:gd name="T9" fmla="*/ 44 h 154"/>
                <a:gd name="T10" fmla="*/ 0 w 279"/>
                <a:gd name="T11" fmla="*/ 154 h 154"/>
              </a:gdLst>
              <a:ahLst/>
              <a:cxnLst>
                <a:cxn ang="0">
                  <a:pos x="T0" y="T1"/>
                </a:cxn>
                <a:cxn ang="0">
                  <a:pos x="T2" y="T3"/>
                </a:cxn>
                <a:cxn ang="0">
                  <a:pos x="T4" y="T5"/>
                </a:cxn>
                <a:cxn ang="0">
                  <a:pos x="T6" y="T7"/>
                </a:cxn>
                <a:cxn ang="0">
                  <a:pos x="T8" y="T9"/>
                </a:cxn>
                <a:cxn ang="0">
                  <a:pos x="T10" y="T11"/>
                </a:cxn>
              </a:cxnLst>
              <a:rect l="0" t="0" r="r" b="b"/>
              <a:pathLst>
                <a:path w="279" h="154">
                  <a:moveTo>
                    <a:pt x="0" y="154"/>
                  </a:moveTo>
                  <a:lnTo>
                    <a:pt x="0" y="154"/>
                  </a:lnTo>
                  <a:cubicBezTo>
                    <a:pt x="83" y="130"/>
                    <a:pt x="174" y="115"/>
                    <a:pt x="269" y="110"/>
                  </a:cubicBezTo>
                  <a:lnTo>
                    <a:pt x="279" y="0"/>
                  </a:lnTo>
                  <a:cubicBezTo>
                    <a:pt x="181" y="4"/>
                    <a:pt x="86" y="19"/>
                    <a:pt x="0" y="44"/>
                  </a:cubicBezTo>
                  <a:lnTo>
                    <a:pt x="0" y="15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42" name="Freeform 113">
              <a:extLst>
                <a:ext uri="{FF2B5EF4-FFF2-40B4-BE49-F238E27FC236}">
                  <a16:creationId xmlns:a16="http://schemas.microsoft.com/office/drawing/2014/main" id="{BB752A37-F18D-48A8-B840-1493B6093807}"/>
                </a:ext>
              </a:extLst>
            </p:cNvPr>
            <p:cNvSpPr>
              <a:spLocks/>
            </p:cNvSpPr>
            <p:nvPr/>
          </p:nvSpPr>
          <p:spPr bwMode="auto">
            <a:xfrm>
              <a:off x="1544" y="335"/>
              <a:ext cx="32" cy="67"/>
            </a:xfrm>
            <a:custGeom>
              <a:avLst/>
              <a:gdLst>
                <a:gd name="T0" fmla="*/ 0 w 53"/>
                <a:gd name="T1" fmla="*/ 111 h 112"/>
                <a:gd name="T2" fmla="*/ 0 w 53"/>
                <a:gd name="T3" fmla="*/ 111 h 112"/>
                <a:gd name="T4" fmla="*/ 0 w 53"/>
                <a:gd name="T5" fmla="*/ 112 h 112"/>
                <a:gd name="T6" fmla="*/ 53 w 53"/>
                <a:gd name="T7" fmla="*/ 110 h 112"/>
                <a:gd name="T8" fmla="*/ 53 w 53"/>
                <a:gd name="T9" fmla="*/ 0 h 112"/>
                <a:gd name="T10" fmla="*/ 11 w 53"/>
                <a:gd name="T11" fmla="*/ 1 h 112"/>
                <a:gd name="T12" fmla="*/ 11 w 53"/>
                <a:gd name="T13" fmla="*/ 1 h 112"/>
                <a:gd name="T14" fmla="*/ 0 w 53"/>
                <a:gd name="T15" fmla="*/ 111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112">
                  <a:moveTo>
                    <a:pt x="0" y="111"/>
                  </a:moveTo>
                  <a:lnTo>
                    <a:pt x="0" y="111"/>
                  </a:lnTo>
                  <a:lnTo>
                    <a:pt x="0" y="112"/>
                  </a:lnTo>
                  <a:cubicBezTo>
                    <a:pt x="18" y="111"/>
                    <a:pt x="35" y="110"/>
                    <a:pt x="53" y="110"/>
                  </a:cubicBezTo>
                  <a:lnTo>
                    <a:pt x="53" y="0"/>
                  </a:lnTo>
                  <a:cubicBezTo>
                    <a:pt x="39" y="0"/>
                    <a:pt x="25" y="0"/>
                    <a:pt x="11" y="1"/>
                  </a:cubicBezTo>
                  <a:lnTo>
                    <a:pt x="11" y="1"/>
                  </a:lnTo>
                  <a:lnTo>
                    <a:pt x="0" y="11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43" name="Freeform 114">
              <a:extLst>
                <a:ext uri="{FF2B5EF4-FFF2-40B4-BE49-F238E27FC236}">
                  <a16:creationId xmlns:a16="http://schemas.microsoft.com/office/drawing/2014/main" id="{A8EA609A-775A-45F5-8A8E-D57255D83114}"/>
                </a:ext>
              </a:extLst>
            </p:cNvPr>
            <p:cNvSpPr>
              <a:spLocks/>
            </p:cNvSpPr>
            <p:nvPr/>
          </p:nvSpPr>
          <p:spPr bwMode="auto">
            <a:xfrm>
              <a:off x="1377" y="269"/>
              <a:ext cx="180" cy="93"/>
            </a:xfrm>
            <a:custGeom>
              <a:avLst/>
              <a:gdLst>
                <a:gd name="T0" fmla="*/ 0 w 300"/>
                <a:gd name="T1" fmla="*/ 154 h 154"/>
                <a:gd name="T2" fmla="*/ 0 w 300"/>
                <a:gd name="T3" fmla="*/ 154 h 154"/>
                <a:gd name="T4" fmla="*/ 290 w 300"/>
                <a:gd name="T5" fmla="*/ 110 h 154"/>
                <a:gd name="T6" fmla="*/ 300 w 300"/>
                <a:gd name="T7" fmla="*/ 0 h 154"/>
                <a:gd name="T8" fmla="*/ 0 w 300"/>
                <a:gd name="T9" fmla="*/ 44 h 154"/>
                <a:gd name="T10" fmla="*/ 0 w 300"/>
                <a:gd name="T11" fmla="*/ 154 h 154"/>
              </a:gdLst>
              <a:ahLst/>
              <a:cxnLst>
                <a:cxn ang="0">
                  <a:pos x="T0" y="T1"/>
                </a:cxn>
                <a:cxn ang="0">
                  <a:pos x="T2" y="T3"/>
                </a:cxn>
                <a:cxn ang="0">
                  <a:pos x="T4" y="T5"/>
                </a:cxn>
                <a:cxn ang="0">
                  <a:pos x="T6" y="T7"/>
                </a:cxn>
                <a:cxn ang="0">
                  <a:pos x="T8" y="T9"/>
                </a:cxn>
                <a:cxn ang="0">
                  <a:pos x="T10" y="T11"/>
                </a:cxn>
              </a:cxnLst>
              <a:rect l="0" t="0" r="r" b="b"/>
              <a:pathLst>
                <a:path w="300" h="154">
                  <a:moveTo>
                    <a:pt x="0" y="154"/>
                  </a:moveTo>
                  <a:lnTo>
                    <a:pt x="0" y="154"/>
                  </a:lnTo>
                  <a:cubicBezTo>
                    <a:pt x="89" y="129"/>
                    <a:pt x="188" y="114"/>
                    <a:pt x="290" y="110"/>
                  </a:cubicBezTo>
                  <a:lnTo>
                    <a:pt x="300" y="0"/>
                  </a:lnTo>
                  <a:cubicBezTo>
                    <a:pt x="194" y="3"/>
                    <a:pt x="92" y="18"/>
                    <a:pt x="0" y="44"/>
                  </a:cubicBezTo>
                  <a:lnTo>
                    <a:pt x="0" y="15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44" name="Freeform 115">
              <a:extLst>
                <a:ext uri="{FF2B5EF4-FFF2-40B4-BE49-F238E27FC236}">
                  <a16:creationId xmlns:a16="http://schemas.microsoft.com/office/drawing/2014/main" id="{AF514218-FE68-4EAC-9101-A75D654E4D86}"/>
                </a:ext>
              </a:extLst>
            </p:cNvPr>
            <p:cNvSpPr>
              <a:spLocks/>
            </p:cNvSpPr>
            <p:nvPr/>
          </p:nvSpPr>
          <p:spPr bwMode="auto">
            <a:xfrm>
              <a:off x="1557" y="203"/>
              <a:ext cx="19" cy="66"/>
            </a:xfrm>
            <a:custGeom>
              <a:avLst/>
              <a:gdLst>
                <a:gd name="T0" fmla="*/ 0 w 32"/>
                <a:gd name="T1" fmla="*/ 110 h 111"/>
                <a:gd name="T2" fmla="*/ 0 w 32"/>
                <a:gd name="T3" fmla="*/ 110 h 111"/>
                <a:gd name="T4" fmla="*/ 0 w 32"/>
                <a:gd name="T5" fmla="*/ 111 h 111"/>
                <a:gd name="T6" fmla="*/ 32 w 32"/>
                <a:gd name="T7" fmla="*/ 110 h 111"/>
                <a:gd name="T8" fmla="*/ 32 w 32"/>
                <a:gd name="T9" fmla="*/ 0 h 111"/>
                <a:gd name="T10" fmla="*/ 10 w 32"/>
                <a:gd name="T11" fmla="*/ 0 h 111"/>
                <a:gd name="T12" fmla="*/ 10 w 32"/>
                <a:gd name="T13" fmla="*/ 0 h 111"/>
                <a:gd name="T14" fmla="*/ 0 w 32"/>
                <a:gd name="T15" fmla="*/ 11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1">
                  <a:moveTo>
                    <a:pt x="0" y="110"/>
                  </a:moveTo>
                  <a:lnTo>
                    <a:pt x="0" y="110"/>
                  </a:lnTo>
                  <a:lnTo>
                    <a:pt x="0" y="111"/>
                  </a:lnTo>
                  <a:cubicBezTo>
                    <a:pt x="10" y="110"/>
                    <a:pt x="21" y="110"/>
                    <a:pt x="32" y="110"/>
                  </a:cubicBezTo>
                  <a:lnTo>
                    <a:pt x="32" y="0"/>
                  </a:lnTo>
                  <a:cubicBezTo>
                    <a:pt x="24" y="0"/>
                    <a:pt x="17" y="0"/>
                    <a:pt x="10" y="0"/>
                  </a:cubicBezTo>
                  <a:lnTo>
                    <a:pt x="10" y="0"/>
                  </a:lnTo>
                  <a:lnTo>
                    <a:pt x="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45" name="Freeform 116">
              <a:extLst>
                <a:ext uri="{FF2B5EF4-FFF2-40B4-BE49-F238E27FC236}">
                  <a16:creationId xmlns:a16="http://schemas.microsoft.com/office/drawing/2014/main" id="{9A7FCC69-F19C-43AE-BD0F-524DC5E89D64}"/>
                </a:ext>
              </a:extLst>
            </p:cNvPr>
            <p:cNvSpPr>
              <a:spLocks/>
            </p:cNvSpPr>
            <p:nvPr/>
          </p:nvSpPr>
          <p:spPr bwMode="auto">
            <a:xfrm>
              <a:off x="1377" y="1068"/>
              <a:ext cx="106" cy="87"/>
            </a:xfrm>
            <a:custGeom>
              <a:avLst/>
              <a:gdLst>
                <a:gd name="T0" fmla="*/ 0 w 176"/>
                <a:gd name="T1" fmla="*/ 146 h 146"/>
                <a:gd name="T2" fmla="*/ 0 w 176"/>
                <a:gd name="T3" fmla="*/ 146 h 146"/>
                <a:gd name="T4" fmla="*/ 166 w 176"/>
                <a:gd name="T5" fmla="*/ 111 h 146"/>
                <a:gd name="T6" fmla="*/ 176 w 176"/>
                <a:gd name="T7" fmla="*/ 0 h 146"/>
                <a:gd name="T8" fmla="*/ 0 w 176"/>
                <a:gd name="T9" fmla="*/ 36 h 146"/>
                <a:gd name="T10" fmla="*/ 0 w 176"/>
                <a:gd name="T11" fmla="*/ 146 h 146"/>
              </a:gdLst>
              <a:ahLst/>
              <a:cxnLst>
                <a:cxn ang="0">
                  <a:pos x="T0" y="T1"/>
                </a:cxn>
                <a:cxn ang="0">
                  <a:pos x="T2" y="T3"/>
                </a:cxn>
                <a:cxn ang="0">
                  <a:pos x="T4" y="T5"/>
                </a:cxn>
                <a:cxn ang="0">
                  <a:pos x="T6" y="T7"/>
                </a:cxn>
                <a:cxn ang="0">
                  <a:pos x="T8" y="T9"/>
                </a:cxn>
                <a:cxn ang="0">
                  <a:pos x="T10" y="T11"/>
                </a:cxn>
              </a:cxnLst>
              <a:rect l="0" t="0" r="r" b="b"/>
              <a:pathLst>
                <a:path w="176" h="146">
                  <a:moveTo>
                    <a:pt x="0" y="146"/>
                  </a:moveTo>
                  <a:lnTo>
                    <a:pt x="0" y="146"/>
                  </a:lnTo>
                  <a:cubicBezTo>
                    <a:pt x="52" y="131"/>
                    <a:pt x="108" y="119"/>
                    <a:pt x="166" y="111"/>
                  </a:cubicBezTo>
                  <a:lnTo>
                    <a:pt x="176" y="0"/>
                  </a:lnTo>
                  <a:cubicBezTo>
                    <a:pt x="115" y="8"/>
                    <a:pt x="55" y="20"/>
                    <a:pt x="0" y="36"/>
                  </a:cubicBezTo>
                  <a:lnTo>
                    <a:pt x="0" y="14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46" name="Freeform 117">
              <a:extLst>
                <a:ext uri="{FF2B5EF4-FFF2-40B4-BE49-F238E27FC236}">
                  <a16:creationId xmlns:a16="http://schemas.microsoft.com/office/drawing/2014/main" id="{A2C0A275-A6FB-4C67-A427-0A7879A67958}"/>
                </a:ext>
              </a:extLst>
            </p:cNvPr>
            <p:cNvSpPr>
              <a:spLocks/>
            </p:cNvSpPr>
            <p:nvPr/>
          </p:nvSpPr>
          <p:spPr bwMode="auto">
            <a:xfrm>
              <a:off x="1377" y="1739"/>
              <a:ext cx="44" cy="77"/>
            </a:xfrm>
            <a:custGeom>
              <a:avLst/>
              <a:gdLst>
                <a:gd name="T0" fmla="*/ 0 w 73"/>
                <a:gd name="T1" fmla="*/ 129 h 129"/>
                <a:gd name="T2" fmla="*/ 0 w 73"/>
                <a:gd name="T3" fmla="*/ 129 h 129"/>
                <a:gd name="T4" fmla="*/ 62 w 73"/>
                <a:gd name="T5" fmla="*/ 113 h 129"/>
                <a:gd name="T6" fmla="*/ 73 w 73"/>
                <a:gd name="T7" fmla="*/ 0 h 129"/>
                <a:gd name="T8" fmla="*/ 0 w 73"/>
                <a:gd name="T9" fmla="*/ 19 h 129"/>
                <a:gd name="T10" fmla="*/ 0 w 73"/>
                <a:gd name="T11" fmla="*/ 129 h 129"/>
              </a:gdLst>
              <a:ahLst/>
              <a:cxnLst>
                <a:cxn ang="0">
                  <a:pos x="T0" y="T1"/>
                </a:cxn>
                <a:cxn ang="0">
                  <a:pos x="T2" y="T3"/>
                </a:cxn>
                <a:cxn ang="0">
                  <a:pos x="T4" y="T5"/>
                </a:cxn>
                <a:cxn ang="0">
                  <a:pos x="T6" y="T7"/>
                </a:cxn>
                <a:cxn ang="0">
                  <a:pos x="T8" y="T9"/>
                </a:cxn>
                <a:cxn ang="0">
                  <a:pos x="T10" y="T11"/>
                </a:cxn>
              </a:cxnLst>
              <a:rect l="0" t="0" r="r" b="b"/>
              <a:pathLst>
                <a:path w="73" h="129">
                  <a:moveTo>
                    <a:pt x="0" y="129"/>
                  </a:moveTo>
                  <a:lnTo>
                    <a:pt x="0" y="129"/>
                  </a:lnTo>
                  <a:cubicBezTo>
                    <a:pt x="20" y="123"/>
                    <a:pt x="41" y="117"/>
                    <a:pt x="62" y="113"/>
                  </a:cubicBezTo>
                  <a:lnTo>
                    <a:pt x="73" y="0"/>
                  </a:lnTo>
                  <a:cubicBezTo>
                    <a:pt x="48" y="6"/>
                    <a:pt x="23" y="12"/>
                    <a:pt x="0" y="19"/>
                  </a:cubicBezTo>
                  <a:lnTo>
                    <a:pt x="0" y="12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47" name="Freeform 118">
              <a:extLst>
                <a:ext uri="{FF2B5EF4-FFF2-40B4-BE49-F238E27FC236}">
                  <a16:creationId xmlns:a16="http://schemas.microsoft.com/office/drawing/2014/main" id="{18B33D4F-A977-4A19-A587-8AE43FE8C768}"/>
                </a:ext>
              </a:extLst>
            </p:cNvPr>
            <p:cNvSpPr>
              <a:spLocks/>
            </p:cNvSpPr>
            <p:nvPr/>
          </p:nvSpPr>
          <p:spPr bwMode="auto">
            <a:xfrm>
              <a:off x="1408" y="1788"/>
              <a:ext cx="168" cy="86"/>
            </a:xfrm>
            <a:custGeom>
              <a:avLst/>
              <a:gdLst>
                <a:gd name="T0" fmla="*/ 0 w 280"/>
                <a:gd name="T1" fmla="*/ 142 h 142"/>
                <a:gd name="T2" fmla="*/ 0 w 280"/>
                <a:gd name="T3" fmla="*/ 142 h 142"/>
                <a:gd name="T4" fmla="*/ 0 w 280"/>
                <a:gd name="T5" fmla="*/ 142 h 142"/>
                <a:gd name="T6" fmla="*/ 280 w 280"/>
                <a:gd name="T7" fmla="*/ 110 h 142"/>
                <a:gd name="T8" fmla="*/ 280 w 280"/>
                <a:gd name="T9" fmla="*/ 0 h 142"/>
                <a:gd name="T10" fmla="*/ 10 w 280"/>
                <a:gd name="T11" fmla="*/ 30 h 142"/>
                <a:gd name="T12" fmla="*/ 10 w 280"/>
                <a:gd name="T13" fmla="*/ 30 h 142"/>
                <a:gd name="T14" fmla="*/ 0 w 280"/>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0" h="142">
                  <a:moveTo>
                    <a:pt x="0" y="142"/>
                  </a:moveTo>
                  <a:lnTo>
                    <a:pt x="0" y="142"/>
                  </a:lnTo>
                  <a:lnTo>
                    <a:pt x="0" y="142"/>
                  </a:lnTo>
                  <a:cubicBezTo>
                    <a:pt x="87" y="122"/>
                    <a:pt x="183" y="111"/>
                    <a:pt x="280" y="110"/>
                  </a:cubicBezTo>
                  <a:lnTo>
                    <a:pt x="280" y="0"/>
                  </a:lnTo>
                  <a:cubicBezTo>
                    <a:pt x="187" y="1"/>
                    <a:pt x="95" y="11"/>
                    <a:pt x="10" y="30"/>
                  </a:cubicBezTo>
                  <a:lnTo>
                    <a:pt x="10" y="30"/>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48" name="Freeform 119">
              <a:extLst>
                <a:ext uri="{FF2B5EF4-FFF2-40B4-BE49-F238E27FC236}">
                  <a16:creationId xmlns:a16="http://schemas.microsoft.com/office/drawing/2014/main" id="{EAFF5914-5F5D-4E5B-A9D2-2DCB2E7ECFCD}"/>
                </a:ext>
              </a:extLst>
            </p:cNvPr>
            <p:cNvSpPr>
              <a:spLocks/>
            </p:cNvSpPr>
            <p:nvPr/>
          </p:nvSpPr>
          <p:spPr bwMode="auto">
            <a:xfrm>
              <a:off x="1421" y="1656"/>
              <a:ext cx="155" cy="83"/>
            </a:xfrm>
            <a:custGeom>
              <a:avLst/>
              <a:gdLst>
                <a:gd name="T0" fmla="*/ 0 w 259"/>
                <a:gd name="T1" fmla="*/ 137 h 137"/>
                <a:gd name="T2" fmla="*/ 0 w 259"/>
                <a:gd name="T3" fmla="*/ 137 h 137"/>
                <a:gd name="T4" fmla="*/ 0 w 259"/>
                <a:gd name="T5" fmla="*/ 137 h 137"/>
                <a:gd name="T6" fmla="*/ 259 w 259"/>
                <a:gd name="T7" fmla="*/ 110 h 137"/>
                <a:gd name="T8" fmla="*/ 259 w 259"/>
                <a:gd name="T9" fmla="*/ 0 h 137"/>
                <a:gd name="T10" fmla="*/ 10 w 259"/>
                <a:gd name="T11" fmla="*/ 25 h 137"/>
                <a:gd name="T12" fmla="*/ 10 w 259"/>
                <a:gd name="T13" fmla="*/ 25 h 137"/>
                <a:gd name="T14" fmla="*/ 0 w 259"/>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 h="137">
                  <a:moveTo>
                    <a:pt x="0" y="137"/>
                  </a:moveTo>
                  <a:lnTo>
                    <a:pt x="0" y="137"/>
                  </a:lnTo>
                  <a:lnTo>
                    <a:pt x="0" y="137"/>
                  </a:lnTo>
                  <a:cubicBezTo>
                    <a:pt x="82" y="120"/>
                    <a:pt x="169" y="111"/>
                    <a:pt x="259" y="110"/>
                  </a:cubicBezTo>
                  <a:lnTo>
                    <a:pt x="259" y="0"/>
                  </a:lnTo>
                  <a:cubicBezTo>
                    <a:pt x="173" y="1"/>
                    <a:pt x="89" y="9"/>
                    <a:pt x="10" y="25"/>
                  </a:cubicBezTo>
                  <a:lnTo>
                    <a:pt x="10" y="25"/>
                  </a:lnTo>
                  <a:lnTo>
                    <a:pt x="0" y="13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49" name="Freeform 120">
              <a:extLst>
                <a:ext uri="{FF2B5EF4-FFF2-40B4-BE49-F238E27FC236}">
                  <a16:creationId xmlns:a16="http://schemas.microsoft.com/office/drawing/2014/main" id="{66CB0D8C-3C33-4733-93E8-DA7E636A75E8}"/>
                </a:ext>
              </a:extLst>
            </p:cNvPr>
            <p:cNvSpPr>
              <a:spLocks/>
            </p:cNvSpPr>
            <p:nvPr/>
          </p:nvSpPr>
          <p:spPr bwMode="auto">
            <a:xfrm>
              <a:off x="1377" y="1874"/>
              <a:ext cx="31" cy="74"/>
            </a:xfrm>
            <a:custGeom>
              <a:avLst/>
              <a:gdLst>
                <a:gd name="T0" fmla="*/ 0 w 52"/>
                <a:gd name="T1" fmla="*/ 124 h 124"/>
                <a:gd name="T2" fmla="*/ 0 w 52"/>
                <a:gd name="T3" fmla="*/ 124 h 124"/>
                <a:gd name="T4" fmla="*/ 41 w 52"/>
                <a:gd name="T5" fmla="*/ 113 h 124"/>
                <a:gd name="T6" fmla="*/ 52 w 52"/>
                <a:gd name="T7" fmla="*/ 0 h 124"/>
                <a:gd name="T8" fmla="*/ 0 w 52"/>
                <a:gd name="T9" fmla="*/ 14 h 124"/>
                <a:gd name="T10" fmla="*/ 0 w 52"/>
                <a:gd name="T11" fmla="*/ 124 h 124"/>
              </a:gdLst>
              <a:ahLst/>
              <a:cxnLst>
                <a:cxn ang="0">
                  <a:pos x="T0" y="T1"/>
                </a:cxn>
                <a:cxn ang="0">
                  <a:pos x="T2" y="T3"/>
                </a:cxn>
                <a:cxn ang="0">
                  <a:pos x="T4" y="T5"/>
                </a:cxn>
                <a:cxn ang="0">
                  <a:pos x="T6" y="T7"/>
                </a:cxn>
                <a:cxn ang="0">
                  <a:pos x="T8" y="T9"/>
                </a:cxn>
                <a:cxn ang="0">
                  <a:pos x="T10" y="T11"/>
                </a:cxn>
              </a:cxnLst>
              <a:rect l="0" t="0" r="r" b="b"/>
              <a:pathLst>
                <a:path w="52" h="124">
                  <a:moveTo>
                    <a:pt x="0" y="124"/>
                  </a:moveTo>
                  <a:lnTo>
                    <a:pt x="0" y="124"/>
                  </a:lnTo>
                  <a:cubicBezTo>
                    <a:pt x="13" y="120"/>
                    <a:pt x="27" y="116"/>
                    <a:pt x="41" y="113"/>
                  </a:cubicBezTo>
                  <a:lnTo>
                    <a:pt x="52" y="0"/>
                  </a:lnTo>
                  <a:cubicBezTo>
                    <a:pt x="34" y="4"/>
                    <a:pt x="17" y="9"/>
                    <a:pt x="0" y="14"/>
                  </a:cubicBezTo>
                  <a:lnTo>
                    <a:pt x="0" y="12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50" name="Freeform 121">
              <a:extLst>
                <a:ext uri="{FF2B5EF4-FFF2-40B4-BE49-F238E27FC236}">
                  <a16:creationId xmlns:a16="http://schemas.microsoft.com/office/drawing/2014/main" id="{52F59ECF-1693-4533-AF08-80D0353C3D5B}"/>
                </a:ext>
              </a:extLst>
            </p:cNvPr>
            <p:cNvSpPr>
              <a:spLocks/>
            </p:cNvSpPr>
            <p:nvPr/>
          </p:nvSpPr>
          <p:spPr bwMode="auto">
            <a:xfrm>
              <a:off x="1396" y="1920"/>
              <a:ext cx="180" cy="89"/>
            </a:xfrm>
            <a:custGeom>
              <a:avLst/>
              <a:gdLst>
                <a:gd name="T0" fmla="*/ 0 w 301"/>
                <a:gd name="T1" fmla="*/ 147 h 148"/>
                <a:gd name="T2" fmla="*/ 0 w 301"/>
                <a:gd name="T3" fmla="*/ 147 h 148"/>
                <a:gd name="T4" fmla="*/ 0 w 301"/>
                <a:gd name="T5" fmla="*/ 148 h 148"/>
                <a:gd name="T6" fmla="*/ 301 w 301"/>
                <a:gd name="T7" fmla="*/ 110 h 148"/>
                <a:gd name="T8" fmla="*/ 301 w 301"/>
                <a:gd name="T9" fmla="*/ 0 h 148"/>
                <a:gd name="T10" fmla="*/ 10 w 301"/>
                <a:gd name="T11" fmla="*/ 35 h 148"/>
                <a:gd name="T12" fmla="*/ 10 w 301"/>
                <a:gd name="T13" fmla="*/ 35 h 148"/>
                <a:gd name="T14" fmla="*/ 0 w 301"/>
                <a:gd name="T15" fmla="*/ 147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1" h="148">
                  <a:moveTo>
                    <a:pt x="0" y="147"/>
                  </a:moveTo>
                  <a:lnTo>
                    <a:pt x="0" y="147"/>
                  </a:lnTo>
                  <a:lnTo>
                    <a:pt x="0" y="148"/>
                  </a:lnTo>
                  <a:cubicBezTo>
                    <a:pt x="93" y="124"/>
                    <a:pt x="196" y="111"/>
                    <a:pt x="301" y="110"/>
                  </a:cubicBezTo>
                  <a:lnTo>
                    <a:pt x="301" y="0"/>
                  </a:lnTo>
                  <a:cubicBezTo>
                    <a:pt x="200" y="1"/>
                    <a:pt x="101" y="13"/>
                    <a:pt x="10" y="35"/>
                  </a:cubicBezTo>
                  <a:lnTo>
                    <a:pt x="10" y="35"/>
                  </a:lnTo>
                  <a:lnTo>
                    <a:pt x="0" y="14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51" name="Freeform 122">
              <a:extLst>
                <a:ext uri="{FF2B5EF4-FFF2-40B4-BE49-F238E27FC236}">
                  <a16:creationId xmlns:a16="http://schemas.microsoft.com/office/drawing/2014/main" id="{CAF66C9E-FC84-4DEB-99D5-79D43CAC1CF1}"/>
                </a:ext>
              </a:extLst>
            </p:cNvPr>
            <p:cNvSpPr>
              <a:spLocks/>
            </p:cNvSpPr>
            <p:nvPr/>
          </p:nvSpPr>
          <p:spPr bwMode="auto">
            <a:xfrm>
              <a:off x="1383" y="2053"/>
              <a:ext cx="193" cy="91"/>
            </a:xfrm>
            <a:custGeom>
              <a:avLst/>
              <a:gdLst>
                <a:gd name="T0" fmla="*/ 0 w 322"/>
                <a:gd name="T1" fmla="*/ 153 h 153"/>
                <a:gd name="T2" fmla="*/ 0 w 322"/>
                <a:gd name="T3" fmla="*/ 153 h 153"/>
                <a:gd name="T4" fmla="*/ 0 w 322"/>
                <a:gd name="T5" fmla="*/ 153 h 153"/>
                <a:gd name="T6" fmla="*/ 322 w 322"/>
                <a:gd name="T7" fmla="*/ 111 h 153"/>
                <a:gd name="T8" fmla="*/ 322 w 322"/>
                <a:gd name="T9" fmla="*/ 0 h 153"/>
                <a:gd name="T10" fmla="*/ 10 w 322"/>
                <a:gd name="T11" fmla="*/ 40 h 153"/>
                <a:gd name="T12" fmla="*/ 10 w 322"/>
                <a:gd name="T13" fmla="*/ 40 h 153"/>
                <a:gd name="T14" fmla="*/ 0 w 322"/>
                <a:gd name="T15" fmla="*/ 153 h 1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 h="153">
                  <a:moveTo>
                    <a:pt x="0" y="153"/>
                  </a:moveTo>
                  <a:lnTo>
                    <a:pt x="0" y="153"/>
                  </a:lnTo>
                  <a:lnTo>
                    <a:pt x="0" y="153"/>
                  </a:lnTo>
                  <a:cubicBezTo>
                    <a:pt x="99" y="126"/>
                    <a:pt x="209" y="111"/>
                    <a:pt x="322" y="111"/>
                  </a:cubicBezTo>
                  <a:lnTo>
                    <a:pt x="322" y="0"/>
                  </a:lnTo>
                  <a:cubicBezTo>
                    <a:pt x="213" y="1"/>
                    <a:pt x="107" y="15"/>
                    <a:pt x="10" y="40"/>
                  </a:cubicBezTo>
                  <a:lnTo>
                    <a:pt x="10" y="40"/>
                  </a:lnTo>
                  <a:lnTo>
                    <a:pt x="0" y="15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52" name="Freeform 123">
              <a:extLst>
                <a:ext uri="{FF2B5EF4-FFF2-40B4-BE49-F238E27FC236}">
                  <a16:creationId xmlns:a16="http://schemas.microsoft.com/office/drawing/2014/main" id="{3526B30B-138E-4782-B221-CFE876E50B74}"/>
                </a:ext>
              </a:extLst>
            </p:cNvPr>
            <p:cNvSpPr>
              <a:spLocks/>
            </p:cNvSpPr>
            <p:nvPr/>
          </p:nvSpPr>
          <p:spPr bwMode="auto">
            <a:xfrm>
              <a:off x="1377" y="2009"/>
              <a:ext cx="19" cy="71"/>
            </a:xfrm>
            <a:custGeom>
              <a:avLst/>
              <a:gdLst>
                <a:gd name="T0" fmla="*/ 0 w 31"/>
                <a:gd name="T1" fmla="*/ 119 h 119"/>
                <a:gd name="T2" fmla="*/ 0 w 31"/>
                <a:gd name="T3" fmla="*/ 119 h 119"/>
                <a:gd name="T4" fmla="*/ 20 w 31"/>
                <a:gd name="T5" fmla="*/ 113 h 119"/>
                <a:gd name="T6" fmla="*/ 31 w 31"/>
                <a:gd name="T7" fmla="*/ 0 h 119"/>
                <a:gd name="T8" fmla="*/ 0 w 31"/>
                <a:gd name="T9" fmla="*/ 9 h 119"/>
                <a:gd name="T10" fmla="*/ 0 w 31"/>
                <a:gd name="T11" fmla="*/ 119 h 119"/>
              </a:gdLst>
              <a:ahLst/>
              <a:cxnLst>
                <a:cxn ang="0">
                  <a:pos x="T0" y="T1"/>
                </a:cxn>
                <a:cxn ang="0">
                  <a:pos x="T2" y="T3"/>
                </a:cxn>
                <a:cxn ang="0">
                  <a:pos x="T4" y="T5"/>
                </a:cxn>
                <a:cxn ang="0">
                  <a:pos x="T6" y="T7"/>
                </a:cxn>
                <a:cxn ang="0">
                  <a:pos x="T8" y="T9"/>
                </a:cxn>
                <a:cxn ang="0">
                  <a:pos x="T10" y="T11"/>
                </a:cxn>
              </a:cxnLst>
              <a:rect l="0" t="0" r="r" b="b"/>
              <a:pathLst>
                <a:path w="31" h="119">
                  <a:moveTo>
                    <a:pt x="0" y="119"/>
                  </a:moveTo>
                  <a:lnTo>
                    <a:pt x="0" y="119"/>
                  </a:lnTo>
                  <a:cubicBezTo>
                    <a:pt x="6" y="117"/>
                    <a:pt x="13" y="115"/>
                    <a:pt x="20" y="113"/>
                  </a:cubicBezTo>
                  <a:lnTo>
                    <a:pt x="31" y="0"/>
                  </a:lnTo>
                  <a:cubicBezTo>
                    <a:pt x="20" y="3"/>
                    <a:pt x="10" y="6"/>
                    <a:pt x="0" y="9"/>
                  </a:cubicBezTo>
                  <a:lnTo>
                    <a:pt x="0" y="11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53" name="Freeform 124">
              <a:extLst>
                <a:ext uri="{FF2B5EF4-FFF2-40B4-BE49-F238E27FC236}">
                  <a16:creationId xmlns:a16="http://schemas.microsoft.com/office/drawing/2014/main" id="{349B5824-C638-4FA7-A507-DAA576D1A0FF}"/>
                </a:ext>
              </a:extLst>
            </p:cNvPr>
            <p:cNvSpPr>
              <a:spLocks/>
            </p:cNvSpPr>
            <p:nvPr/>
          </p:nvSpPr>
          <p:spPr bwMode="auto">
            <a:xfrm>
              <a:off x="1377" y="1604"/>
              <a:ext cx="56" cy="79"/>
            </a:xfrm>
            <a:custGeom>
              <a:avLst/>
              <a:gdLst>
                <a:gd name="T0" fmla="*/ 0 w 93"/>
                <a:gd name="T1" fmla="*/ 132 h 132"/>
                <a:gd name="T2" fmla="*/ 0 w 93"/>
                <a:gd name="T3" fmla="*/ 132 h 132"/>
                <a:gd name="T4" fmla="*/ 83 w 93"/>
                <a:gd name="T5" fmla="*/ 112 h 132"/>
                <a:gd name="T6" fmla="*/ 93 w 93"/>
                <a:gd name="T7" fmla="*/ 0 h 132"/>
                <a:gd name="T8" fmla="*/ 0 w 93"/>
                <a:gd name="T9" fmla="*/ 22 h 132"/>
                <a:gd name="T10" fmla="*/ 0 w 93"/>
                <a:gd name="T11" fmla="*/ 132 h 132"/>
              </a:gdLst>
              <a:ahLst/>
              <a:cxnLst>
                <a:cxn ang="0">
                  <a:pos x="T0" y="T1"/>
                </a:cxn>
                <a:cxn ang="0">
                  <a:pos x="T2" y="T3"/>
                </a:cxn>
                <a:cxn ang="0">
                  <a:pos x="T4" y="T5"/>
                </a:cxn>
                <a:cxn ang="0">
                  <a:pos x="T6" y="T7"/>
                </a:cxn>
                <a:cxn ang="0">
                  <a:pos x="T8" y="T9"/>
                </a:cxn>
                <a:cxn ang="0">
                  <a:pos x="T10" y="T11"/>
                </a:cxn>
              </a:cxnLst>
              <a:rect l="0" t="0" r="r" b="b"/>
              <a:pathLst>
                <a:path w="93" h="132">
                  <a:moveTo>
                    <a:pt x="0" y="132"/>
                  </a:moveTo>
                  <a:lnTo>
                    <a:pt x="0" y="132"/>
                  </a:lnTo>
                  <a:cubicBezTo>
                    <a:pt x="27" y="125"/>
                    <a:pt x="54" y="118"/>
                    <a:pt x="83" y="112"/>
                  </a:cubicBezTo>
                  <a:lnTo>
                    <a:pt x="93" y="0"/>
                  </a:lnTo>
                  <a:cubicBezTo>
                    <a:pt x="61" y="6"/>
                    <a:pt x="30" y="14"/>
                    <a:pt x="0" y="22"/>
                  </a:cubicBezTo>
                  <a:lnTo>
                    <a:pt x="0" y="13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54" name="Freeform 125">
              <a:extLst>
                <a:ext uri="{FF2B5EF4-FFF2-40B4-BE49-F238E27FC236}">
                  <a16:creationId xmlns:a16="http://schemas.microsoft.com/office/drawing/2014/main" id="{08BCCE40-D7D0-4C09-B838-AA6A11D18C7B}"/>
                </a:ext>
              </a:extLst>
            </p:cNvPr>
            <p:cNvSpPr>
              <a:spLocks/>
            </p:cNvSpPr>
            <p:nvPr/>
          </p:nvSpPr>
          <p:spPr bwMode="auto">
            <a:xfrm>
              <a:off x="1458" y="1260"/>
              <a:ext cx="118" cy="75"/>
            </a:xfrm>
            <a:custGeom>
              <a:avLst/>
              <a:gdLst>
                <a:gd name="T0" fmla="*/ 0 w 197"/>
                <a:gd name="T1" fmla="*/ 126 h 126"/>
                <a:gd name="T2" fmla="*/ 0 w 197"/>
                <a:gd name="T3" fmla="*/ 126 h 126"/>
                <a:gd name="T4" fmla="*/ 0 w 197"/>
                <a:gd name="T5" fmla="*/ 126 h 126"/>
                <a:gd name="T6" fmla="*/ 197 w 197"/>
                <a:gd name="T7" fmla="*/ 110 h 126"/>
                <a:gd name="T8" fmla="*/ 197 w 197"/>
                <a:gd name="T9" fmla="*/ 0 h 126"/>
                <a:gd name="T10" fmla="*/ 10 w 197"/>
                <a:gd name="T11" fmla="*/ 15 h 126"/>
                <a:gd name="T12" fmla="*/ 10 w 197"/>
                <a:gd name="T13" fmla="*/ 15 h 126"/>
                <a:gd name="T14" fmla="*/ 0 w 197"/>
                <a:gd name="T15" fmla="*/ 126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 h="126">
                  <a:moveTo>
                    <a:pt x="0" y="126"/>
                  </a:moveTo>
                  <a:lnTo>
                    <a:pt x="0" y="126"/>
                  </a:lnTo>
                  <a:lnTo>
                    <a:pt x="0" y="126"/>
                  </a:lnTo>
                  <a:cubicBezTo>
                    <a:pt x="63" y="116"/>
                    <a:pt x="130" y="111"/>
                    <a:pt x="197" y="110"/>
                  </a:cubicBezTo>
                  <a:lnTo>
                    <a:pt x="197" y="0"/>
                  </a:lnTo>
                  <a:cubicBezTo>
                    <a:pt x="133" y="1"/>
                    <a:pt x="71" y="6"/>
                    <a:pt x="10" y="15"/>
                  </a:cubicBezTo>
                  <a:lnTo>
                    <a:pt x="10" y="15"/>
                  </a:lnTo>
                  <a:lnTo>
                    <a:pt x="0" y="12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55" name="Freeform 126">
              <a:extLst>
                <a:ext uri="{FF2B5EF4-FFF2-40B4-BE49-F238E27FC236}">
                  <a16:creationId xmlns:a16="http://schemas.microsoft.com/office/drawing/2014/main" id="{7ADCEA62-11F1-49CB-AF10-2001133E7262}"/>
                </a:ext>
              </a:extLst>
            </p:cNvPr>
            <p:cNvSpPr>
              <a:spLocks/>
            </p:cNvSpPr>
            <p:nvPr/>
          </p:nvSpPr>
          <p:spPr bwMode="auto">
            <a:xfrm>
              <a:off x="1433" y="1524"/>
              <a:ext cx="143" cy="80"/>
            </a:xfrm>
            <a:custGeom>
              <a:avLst/>
              <a:gdLst>
                <a:gd name="T0" fmla="*/ 0 w 239"/>
                <a:gd name="T1" fmla="*/ 133 h 133"/>
                <a:gd name="T2" fmla="*/ 0 w 239"/>
                <a:gd name="T3" fmla="*/ 133 h 133"/>
                <a:gd name="T4" fmla="*/ 0 w 239"/>
                <a:gd name="T5" fmla="*/ 133 h 133"/>
                <a:gd name="T6" fmla="*/ 239 w 239"/>
                <a:gd name="T7" fmla="*/ 110 h 133"/>
                <a:gd name="T8" fmla="*/ 239 w 239"/>
                <a:gd name="T9" fmla="*/ 0 h 133"/>
                <a:gd name="T10" fmla="*/ 11 w 239"/>
                <a:gd name="T11" fmla="*/ 21 h 133"/>
                <a:gd name="T12" fmla="*/ 11 w 239"/>
                <a:gd name="T13" fmla="*/ 21 h 133"/>
                <a:gd name="T14" fmla="*/ 0 w 239"/>
                <a:gd name="T15" fmla="*/ 133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9" h="133">
                  <a:moveTo>
                    <a:pt x="0" y="133"/>
                  </a:moveTo>
                  <a:lnTo>
                    <a:pt x="0" y="133"/>
                  </a:lnTo>
                  <a:lnTo>
                    <a:pt x="0" y="133"/>
                  </a:lnTo>
                  <a:cubicBezTo>
                    <a:pt x="76" y="118"/>
                    <a:pt x="157" y="110"/>
                    <a:pt x="239" y="110"/>
                  </a:cubicBezTo>
                  <a:lnTo>
                    <a:pt x="239" y="0"/>
                  </a:lnTo>
                  <a:cubicBezTo>
                    <a:pt x="161" y="0"/>
                    <a:pt x="84" y="7"/>
                    <a:pt x="11" y="21"/>
                  </a:cubicBezTo>
                  <a:lnTo>
                    <a:pt x="11" y="21"/>
                  </a:lnTo>
                  <a:lnTo>
                    <a:pt x="0" y="13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56" name="Freeform 127">
              <a:extLst>
                <a:ext uri="{FF2B5EF4-FFF2-40B4-BE49-F238E27FC236}">
                  <a16:creationId xmlns:a16="http://schemas.microsoft.com/office/drawing/2014/main" id="{DEFDA643-510A-4F10-BE9A-980271D84C8E}"/>
                </a:ext>
              </a:extLst>
            </p:cNvPr>
            <p:cNvSpPr>
              <a:spLocks/>
            </p:cNvSpPr>
            <p:nvPr/>
          </p:nvSpPr>
          <p:spPr bwMode="auto">
            <a:xfrm>
              <a:off x="1471" y="1128"/>
              <a:ext cx="105" cy="74"/>
            </a:xfrm>
            <a:custGeom>
              <a:avLst/>
              <a:gdLst>
                <a:gd name="T0" fmla="*/ 0 w 176"/>
                <a:gd name="T1" fmla="*/ 123 h 123"/>
                <a:gd name="T2" fmla="*/ 0 w 176"/>
                <a:gd name="T3" fmla="*/ 123 h 123"/>
                <a:gd name="T4" fmla="*/ 0 w 176"/>
                <a:gd name="T5" fmla="*/ 123 h 123"/>
                <a:gd name="T6" fmla="*/ 176 w 176"/>
                <a:gd name="T7" fmla="*/ 110 h 123"/>
                <a:gd name="T8" fmla="*/ 176 w 176"/>
                <a:gd name="T9" fmla="*/ 0 h 123"/>
                <a:gd name="T10" fmla="*/ 10 w 176"/>
                <a:gd name="T11" fmla="*/ 11 h 123"/>
                <a:gd name="T12" fmla="*/ 10 w 176"/>
                <a:gd name="T13" fmla="*/ 11 h 123"/>
                <a:gd name="T14" fmla="*/ 0 w 176"/>
                <a:gd name="T15" fmla="*/ 123 h 1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6" h="123">
                  <a:moveTo>
                    <a:pt x="0" y="123"/>
                  </a:moveTo>
                  <a:lnTo>
                    <a:pt x="0" y="123"/>
                  </a:lnTo>
                  <a:lnTo>
                    <a:pt x="0" y="123"/>
                  </a:lnTo>
                  <a:cubicBezTo>
                    <a:pt x="57" y="115"/>
                    <a:pt x="116" y="111"/>
                    <a:pt x="176" y="110"/>
                  </a:cubicBezTo>
                  <a:lnTo>
                    <a:pt x="176" y="0"/>
                  </a:lnTo>
                  <a:cubicBezTo>
                    <a:pt x="120" y="1"/>
                    <a:pt x="64" y="4"/>
                    <a:pt x="10" y="11"/>
                  </a:cubicBezTo>
                  <a:lnTo>
                    <a:pt x="10" y="11"/>
                  </a:lnTo>
                  <a:lnTo>
                    <a:pt x="0" y="12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57" name="Freeform 128">
              <a:extLst>
                <a:ext uri="{FF2B5EF4-FFF2-40B4-BE49-F238E27FC236}">
                  <a16:creationId xmlns:a16="http://schemas.microsoft.com/office/drawing/2014/main" id="{02E1190A-E49D-437F-925B-94B4581B1C48}"/>
                </a:ext>
              </a:extLst>
            </p:cNvPr>
            <p:cNvSpPr>
              <a:spLocks/>
            </p:cNvSpPr>
            <p:nvPr/>
          </p:nvSpPr>
          <p:spPr bwMode="auto">
            <a:xfrm>
              <a:off x="1377" y="1202"/>
              <a:ext cx="94" cy="85"/>
            </a:xfrm>
            <a:custGeom>
              <a:avLst/>
              <a:gdLst>
                <a:gd name="T0" fmla="*/ 0 w 156"/>
                <a:gd name="T1" fmla="*/ 143 h 143"/>
                <a:gd name="T2" fmla="*/ 0 w 156"/>
                <a:gd name="T3" fmla="*/ 143 h 143"/>
                <a:gd name="T4" fmla="*/ 145 w 156"/>
                <a:gd name="T5" fmla="*/ 112 h 143"/>
                <a:gd name="T6" fmla="*/ 156 w 156"/>
                <a:gd name="T7" fmla="*/ 0 h 143"/>
                <a:gd name="T8" fmla="*/ 0 w 156"/>
                <a:gd name="T9" fmla="*/ 33 h 143"/>
                <a:gd name="T10" fmla="*/ 0 w 156"/>
                <a:gd name="T11" fmla="*/ 143 h 143"/>
              </a:gdLst>
              <a:ahLst/>
              <a:cxnLst>
                <a:cxn ang="0">
                  <a:pos x="T0" y="T1"/>
                </a:cxn>
                <a:cxn ang="0">
                  <a:pos x="T2" y="T3"/>
                </a:cxn>
                <a:cxn ang="0">
                  <a:pos x="T4" y="T5"/>
                </a:cxn>
                <a:cxn ang="0">
                  <a:pos x="T6" y="T7"/>
                </a:cxn>
                <a:cxn ang="0">
                  <a:pos x="T8" y="T9"/>
                </a:cxn>
                <a:cxn ang="0">
                  <a:pos x="T10" y="T11"/>
                </a:cxn>
              </a:cxnLst>
              <a:rect l="0" t="0" r="r" b="b"/>
              <a:pathLst>
                <a:path w="156" h="143">
                  <a:moveTo>
                    <a:pt x="0" y="143"/>
                  </a:moveTo>
                  <a:lnTo>
                    <a:pt x="0" y="143"/>
                  </a:lnTo>
                  <a:cubicBezTo>
                    <a:pt x="46" y="130"/>
                    <a:pt x="95" y="119"/>
                    <a:pt x="145" y="112"/>
                  </a:cubicBezTo>
                  <a:lnTo>
                    <a:pt x="156" y="0"/>
                  </a:lnTo>
                  <a:cubicBezTo>
                    <a:pt x="101" y="8"/>
                    <a:pt x="49" y="19"/>
                    <a:pt x="0" y="33"/>
                  </a:cubicBez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58" name="Freeform 129">
              <a:extLst>
                <a:ext uri="{FF2B5EF4-FFF2-40B4-BE49-F238E27FC236}">
                  <a16:creationId xmlns:a16="http://schemas.microsoft.com/office/drawing/2014/main" id="{539EC071-070C-4773-A98A-0776569E9033}"/>
                </a:ext>
              </a:extLst>
            </p:cNvPr>
            <p:cNvSpPr>
              <a:spLocks/>
            </p:cNvSpPr>
            <p:nvPr/>
          </p:nvSpPr>
          <p:spPr bwMode="auto">
            <a:xfrm>
              <a:off x="1377" y="1470"/>
              <a:ext cx="68" cy="81"/>
            </a:xfrm>
            <a:custGeom>
              <a:avLst/>
              <a:gdLst>
                <a:gd name="T0" fmla="*/ 0 w 114"/>
                <a:gd name="T1" fmla="*/ 136 h 136"/>
                <a:gd name="T2" fmla="*/ 0 w 114"/>
                <a:gd name="T3" fmla="*/ 136 h 136"/>
                <a:gd name="T4" fmla="*/ 104 w 114"/>
                <a:gd name="T5" fmla="*/ 112 h 136"/>
                <a:gd name="T6" fmla="*/ 114 w 114"/>
                <a:gd name="T7" fmla="*/ 0 h 136"/>
                <a:gd name="T8" fmla="*/ 0 w 114"/>
                <a:gd name="T9" fmla="*/ 26 h 136"/>
                <a:gd name="T10" fmla="*/ 0 w 114"/>
                <a:gd name="T11" fmla="*/ 136 h 136"/>
              </a:gdLst>
              <a:ahLst/>
              <a:cxnLst>
                <a:cxn ang="0">
                  <a:pos x="T0" y="T1"/>
                </a:cxn>
                <a:cxn ang="0">
                  <a:pos x="T2" y="T3"/>
                </a:cxn>
                <a:cxn ang="0">
                  <a:pos x="T4" y="T5"/>
                </a:cxn>
                <a:cxn ang="0">
                  <a:pos x="T6" y="T7"/>
                </a:cxn>
                <a:cxn ang="0">
                  <a:pos x="T8" y="T9"/>
                </a:cxn>
                <a:cxn ang="0">
                  <a:pos x="T10" y="T11"/>
                </a:cxn>
              </a:cxnLst>
              <a:rect l="0" t="0" r="r" b="b"/>
              <a:pathLst>
                <a:path w="114" h="136">
                  <a:moveTo>
                    <a:pt x="0" y="136"/>
                  </a:moveTo>
                  <a:lnTo>
                    <a:pt x="0" y="136"/>
                  </a:lnTo>
                  <a:cubicBezTo>
                    <a:pt x="33" y="127"/>
                    <a:pt x="68" y="118"/>
                    <a:pt x="104" y="112"/>
                  </a:cubicBezTo>
                  <a:lnTo>
                    <a:pt x="114" y="0"/>
                  </a:lnTo>
                  <a:cubicBezTo>
                    <a:pt x="75" y="7"/>
                    <a:pt x="36" y="16"/>
                    <a:pt x="0" y="26"/>
                  </a:cubicBezTo>
                  <a:lnTo>
                    <a:pt x="0" y="13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59" name="Freeform 130">
              <a:extLst>
                <a:ext uri="{FF2B5EF4-FFF2-40B4-BE49-F238E27FC236}">
                  <a16:creationId xmlns:a16="http://schemas.microsoft.com/office/drawing/2014/main" id="{3140B4FC-F13A-408D-AEF4-434928619E2F}"/>
                </a:ext>
              </a:extLst>
            </p:cNvPr>
            <p:cNvSpPr>
              <a:spLocks/>
            </p:cNvSpPr>
            <p:nvPr/>
          </p:nvSpPr>
          <p:spPr bwMode="auto">
            <a:xfrm>
              <a:off x="1377" y="1335"/>
              <a:ext cx="81" cy="84"/>
            </a:xfrm>
            <a:custGeom>
              <a:avLst/>
              <a:gdLst>
                <a:gd name="T0" fmla="*/ 0 w 135"/>
                <a:gd name="T1" fmla="*/ 140 h 140"/>
                <a:gd name="T2" fmla="*/ 0 w 135"/>
                <a:gd name="T3" fmla="*/ 140 h 140"/>
                <a:gd name="T4" fmla="*/ 125 w 135"/>
                <a:gd name="T5" fmla="*/ 112 h 140"/>
                <a:gd name="T6" fmla="*/ 135 w 135"/>
                <a:gd name="T7" fmla="*/ 0 h 140"/>
                <a:gd name="T8" fmla="*/ 0 w 135"/>
                <a:gd name="T9" fmla="*/ 30 h 140"/>
                <a:gd name="T10" fmla="*/ 0 w 135"/>
                <a:gd name="T11" fmla="*/ 140 h 140"/>
              </a:gdLst>
              <a:ahLst/>
              <a:cxnLst>
                <a:cxn ang="0">
                  <a:pos x="T0" y="T1"/>
                </a:cxn>
                <a:cxn ang="0">
                  <a:pos x="T2" y="T3"/>
                </a:cxn>
                <a:cxn ang="0">
                  <a:pos x="T4" y="T5"/>
                </a:cxn>
                <a:cxn ang="0">
                  <a:pos x="T6" y="T7"/>
                </a:cxn>
                <a:cxn ang="0">
                  <a:pos x="T8" y="T9"/>
                </a:cxn>
                <a:cxn ang="0">
                  <a:pos x="T10" y="T11"/>
                </a:cxn>
              </a:cxnLst>
              <a:rect l="0" t="0" r="r" b="b"/>
              <a:pathLst>
                <a:path w="135" h="140">
                  <a:moveTo>
                    <a:pt x="0" y="140"/>
                  </a:moveTo>
                  <a:lnTo>
                    <a:pt x="0" y="140"/>
                  </a:lnTo>
                  <a:cubicBezTo>
                    <a:pt x="39" y="129"/>
                    <a:pt x="81" y="119"/>
                    <a:pt x="125" y="112"/>
                  </a:cubicBezTo>
                  <a:lnTo>
                    <a:pt x="135" y="0"/>
                  </a:lnTo>
                  <a:cubicBezTo>
                    <a:pt x="88" y="8"/>
                    <a:pt x="43" y="18"/>
                    <a:pt x="0" y="30"/>
                  </a:cubicBezTo>
                  <a:lnTo>
                    <a:pt x="0" y="14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60" name="Freeform 131">
              <a:extLst>
                <a:ext uri="{FF2B5EF4-FFF2-40B4-BE49-F238E27FC236}">
                  <a16:creationId xmlns:a16="http://schemas.microsoft.com/office/drawing/2014/main" id="{8A19B2A0-B93F-4DE4-9D6A-C4FEF3F74BAC}"/>
                </a:ext>
              </a:extLst>
            </p:cNvPr>
            <p:cNvSpPr>
              <a:spLocks/>
            </p:cNvSpPr>
            <p:nvPr/>
          </p:nvSpPr>
          <p:spPr bwMode="auto">
            <a:xfrm>
              <a:off x="1445" y="1392"/>
              <a:ext cx="131" cy="78"/>
            </a:xfrm>
            <a:custGeom>
              <a:avLst/>
              <a:gdLst>
                <a:gd name="T0" fmla="*/ 0 w 218"/>
                <a:gd name="T1" fmla="*/ 129 h 129"/>
                <a:gd name="T2" fmla="*/ 0 w 218"/>
                <a:gd name="T3" fmla="*/ 129 h 129"/>
                <a:gd name="T4" fmla="*/ 0 w 218"/>
                <a:gd name="T5" fmla="*/ 129 h 129"/>
                <a:gd name="T6" fmla="*/ 218 w 218"/>
                <a:gd name="T7" fmla="*/ 110 h 129"/>
                <a:gd name="T8" fmla="*/ 218 w 218"/>
                <a:gd name="T9" fmla="*/ 0 h 129"/>
                <a:gd name="T10" fmla="*/ 11 w 218"/>
                <a:gd name="T11" fmla="*/ 17 h 129"/>
                <a:gd name="T12" fmla="*/ 11 w 218"/>
                <a:gd name="T13" fmla="*/ 17 h 129"/>
                <a:gd name="T14" fmla="*/ 0 w 218"/>
                <a:gd name="T15" fmla="*/ 129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8" h="129">
                  <a:moveTo>
                    <a:pt x="0" y="129"/>
                  </a:moveTo>
                  <a:lnTo>
                    <a:pt x="0" y="129"/>
                  </a:lnTo>
                  <a:lnTo>
                    <a:pt x="0" y="129"/>
                  </a:lnTo>
                  <a:cubicBezTo>
                    <a:pt x="70" y="117"/>
                    <a:pt x="143" y="110"/>
                    <a:pt x="218" y="110"/>
                  </a:cubicBezTo>
                  <a:lnTo>
                    <a:pt x="218" y="0"/>
                  </a:lnTo>
                  <a:cubicBezTo>
                    <a:pt x="147" y="0"/>
                    <a:pt x="77" y="6"/>
                    <a:pt x="11" y="17"/>
                  </a:cubicBezTo>
                  <a:lnTo>
                    <a:pt x="11" y="17"/>
                  </a:lnTo>
                  <a:lnTo>
                    <a:pt x="0" y="12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 name="Title 1">
            <a:extLst>
              <a:ext uri="{FF2B5EF4-FFF2-40B4-BE49-F238E27FC236}">
                <a16:creationId xmlns:a16="http://schemas.microsoft.com/office/drawing/2014/main" id="{6E57FC1A-D1D7-41DF-9C38-132EB0022C80}"/>
              </a:ext>
            </a:extLst>
          </p:cNvPr>
          <p:cNvSpPr>
            <a:spLocks noGrp="1"/>
          </p:cNvSpPr>
          <p:nvPr>
            <p:ph type="ctrTitle" hasCustomPrompt="1"/>
          </p:nvPr>
        </p:nvSpPr>
        <p:spPr>
          <a:xfrm>
            <a:off x="5267271" y="3071725"/>
            <a:ext cx="6205329" cy="2896402"/>
          </a:xfrm>
          <a:noFill/>
        </p:spPr>
        <p:txBody>
          <a:bodyPr anchor="t" anchorCtr="0">
            <a:noAutofit/>
          </a:bodyPr>
          <a:lstStyle>
            <a:lvl1pPr algn="l">
              <a:defRPr sz="4200">
                <a:solidFill>
                  <a:schemeClr val="accent3"/>
                </a:solidFill>
              </a:defRPr>
            </a:lvl1pPr>
          </a:lstStyle>
          <a:p>
            <a:r>
              <a:rPr lang="en-US"/>
              <a:t>Click to add document and/or subject header here</a:t>
            </a:r>
            <a:endParaRPr lang="en-GB"/>
          </a:p>
        </p:txBody>
      </p:sp>
      <p:sp>
        <p:nvSpPr>
          <p:cNvPr id="3" name="Subtitle 2">
            <a:extLst>
              <a:ext uri="{FF2B5EF4-FFF2-40B4-BE49-F238E27FC236}">
                <a16:creationId xmlns:a16="http://schemas.microsoft.com/office/drawing/2014/main" id="{00A92183-67E0-42C7-899A-3D39BFAEA1EB}"/>
              </a:ext>
            </a:extLst>
          </p:cNvPr>
          <p:cNvSpPr>
            <a:spLocks noGrp="1"/>
          </p:cNvSpPr>
          <p:nvPr>
            <p:ph type="subTitle" idx="1" hasCustomPrompt="1"/>
          </p:nvPr>
        </p:nvSpPr>
        <p:spPr>
          <a:xfrm>
            <a:off x="5266200" y="5969695"/>
            <a:ext cx="6206400" cy="215444"/>
          </a:xfrm>
        </p:spPr>
        <p:txBody>
          <a:bodyPr>
            <a:spAutoFit/>
          </a:bodyPr>
          <a:lstStyle>
            <a:lvl1pPr marL="0" indent="0" algn="l">
              <a:buNone/>
              <a:defRPr sz="1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ate here</a:t>
            </a:r>
            <a:endParaRPr lang="en-GB"/>
          </a:p>
        </p:txBody>
      </p:sp>
      <p:sp>
        <p:nvSpPr>
          <p:cNvPr id="4" name="Date Placeholder 3">
            <a:extLst>
              <a:ext uri="{FF2B5EF4-FFF2-40B4-BE49-F238E27FC236}">
                <a16:creationId xmlns:a16="http://schemas.microsoft.com/office/drawing/2014/main" id="{8DA7B571-A906-45BD-9E11-7E7DC4D909FA}"/>
              </a:ext>
            </a:extLst>
          </p:cNvPr>
          <p:cNvSpPr>
            <a:spLocks noGrp="1"/>
          </p:cNvSpPr>
          <p:nvPr>
            <p:ph type="dt" sz="half" idx="10"/>
          </p:nvPr>
        </p:nvSpPr>
        <p:spPr/>
        <p:txBody>
          <a:bodyPr/>
          <a:lstStyle/>
          <a:p>
            <a:fld id="{5B42D600-461E-4D15-98C0-8BB09BE54093}" type="datetime6">
              <a:rPr lang="en-GB" smtClean="0"/>
              <a:t>November 21</a:t>
            </a:fld>
            <a:endParaRPr lang="en-GB"/>
          </a:p>
        </p:txBody>
      </p:sp>
      <p:sp>
        <p:nvSpPr>
          <p:cNvPr id="5" name="Footer Placeholder 4">
            <a:extLst>
              <a:ext uri="{FF2B5EF4-FFF2-40B4-BE49-F238E27FC236}">
                <a16:creationId xmlns:a16="http://schemas.microsoft.com/office/drawing/2014/main" id="{F66FCE6B-5B1A-451B-9EA1-51D3FF4FC0D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27A0F01-F708-4994-9A0A-7F4EBDB76BCE}"/>
              </a:ext>
            </a:extLst>
          </p:cNvPr>
          <p:cNvSpPr>
            <a:spLocks noGrp="1"/>
          </p:cNvSpPr>
          <p:nvPr>
            <p:ph type="sldNum" sz="quarter" idx="12"/>
          </p:nvPr>
        </p:nvSpPr>
        <p:spPr/>
        <p:txBody>
          <a:bodyPr/>
          <a:lstStyle/>
          <a:p>
            <a:fld id="{F4186869-B628-4395-96ED-AD53145CB3D4}" type="slidenum">
              <a:rPr lang="en-GB" smtClean="0"/>
              <a:t>‹#›</a:t>
            </a:fld>
            <a:endParaRPr lang="en-GB"/>
          </a:p>
        </p:txBody>
      </p:sp>
      <p:pic>
        <p:nvPicPr>
          <p:cNvPr id="162" name="Picture 161" descr="A large building&#10;&#10;Description automatically generated">
            <a:extLst>
              <a:ext uri="{FF2B5EF4-FFF2-40B4-BE49-F238E27FC236}">
                <a16:creationId xmlns:a16="http://schemas.microsoft.com/office/drawing/2014/main" id="{872A46C6-6984-4E8F-91C5-44E6BDC7AA9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0129"/>
          <a:stretch/>
        </p:blipFill>
        <p:spPr>
          <a:xfrm>
            <a:off x="-11189" y="1"/>
            <a:ext cx="4894791" cy="6857999"/>
          </a:xfrm>
          <a:prstGeom prst="rect">
            <a:avLst/>
          </a:prstGeom>
        </p:spPr>
      </p:pic>
      <p:grpSp>
        <p:nvGrpSpPr>
          <p:cNvPr id="32" name="Group 31">
            <a:extLst>
              <a:ext uri="{FF2B5EF4-FFF2-40B4-BE49-F238E27FC236}">
                <a16:creationId xmlns:a16="http://schemas.microsoft.com/office/drawing/2014/main" id="{CE19B451-1E4B-45C7-864C-36264B8553FA}"/>
              </a:ext>
            </a:extLst>
          </p:cNvPr>
          <p:cNvGrpSpPr/>
          <p:nvPr userDrawn="1"/>
        </p:nvGrpSpPr>
        <p:grpSpPr>
          <a:xfrm>
            <a:off x="4219340" y="-46301"/>
            <a:ext cx="757024" cy="6957228"/>
            <a:chOff x="4219340" y="-46301"/>
            <a:chExt cx="757024" cy="6957228"/>
          </a:xfrm>
        </p:grpSpPr>
        <p:pic>
          <p:nvPicPr>
            <p:cNvPr id="165" name="Picture 164">
              <a:extLst>
                <a:ext uri="{FF2B5EF4-FFF2-40B4-BE49-F238E27FC236}">
                  <a16:creationId xmlns:a16="http://schemas.microsoft.com/office/drawing/2014/main" id="{8FF7077C-5458-EC4D-8882-416D182CF2E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19340" y="-46301"/>
              <a:ext cx="757024" cy="3802933"/>
            </a:xfrm>
            <a:prstGeom prst="rect">
              <a:avLst/>
            </a:prstGeom>
          </p:spPr>
        </p:pic>
        <p:pic>
          <p:nvPicPr>
            <p:cNvPr id="166" name="Picture 165">
              <a:extLst>
                <a:ext uri="{FF2B5EF4-FFF2-40B4-BE49-F238E27FC236}">
                  <a16:creationId xmlns:a16="http://schemas.microsoft.com/office/drawing/2014/main" id="{52ED3BF9-ABEA-EF48-83B6-15A27726F58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19340" y="3175001"/>
              <a:ext cx="757024" cy="3735926"/>
            </a:xfrm>
            <a:prstGeom prst="rect">
              <a:avLst/>
            </a:prstGeom>
          </p:spPr>
        </p:pic>
      </p:grpSp>
      <p:pic>
        <p:nvPicPr>
          <p:cNvPr id="163" name="Picture 162" descr="A picture containing clock, meter&#10;&#10;Description automatically generated">
            <a:extLst>
              <a:ext uri="{FF2B5EF4-FFF2-40B4-BE49-F238E27FC236}">
                <a16:creationId xmlns:a16="http://schemas.microsoft.com/office/drawing/2014/main" id="{B16C1F8F-F15F-49A5-854C-DDC5E3C2A1D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836024" y="483031"/>
            <a:ext cx="3636576" cy="459944"/>
          </a:xfrm>
          <a:prstGeom prst="rect">
            <a:avLst/>
          </a:prstGeom>
        </p:spPr>
      </p:pic>
    </p:spTree>
    <p:extLst>
      <p:ext uri="{BB962C8B-B14F-4D97-AF65-F5344CB8AC3E}">
        <p14:creationId xmlns:p14="http://schemas.microsoft.com/office/powerpoint/2010/main" val="2188066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AD59D2B-CD21-48D9-A10F-A2E3332247C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
          <a:stretch/>
        </p:blipFill>
        <p:spPr>
          <a:xfrm>
            <a:off x="0" y="-2"/>
            <a:ext cx="12192000" cy="6858001"/>
          </a:xfrm>
          <a:prstGeom prst="rect">
            <a:avLst/>
          </a:prstGeom>
        </p:spPr>
      </p:pic>
      <p:sp>
        <p:nvSpPr>
          <p:cNvPr id="16" name="Title 1">
            <a:extLst>
              <a:ext uri="{FF2B5EF4-FFF2-40B4-BE49-F238E27FC236}">
                <a16:creationId xmlns:a16="http://schemas.microsoft.com/office/drawing/2014/main" id="{3CDC1F25-336E-4B7B-9B58-F607253E45C8}"/>
              </a:ext>
            </a:extLst>
          </p:cNvPr>
          <p:cNvSpPr>
            <a:spLocks noGrp="1"/>
          </p:cNvSpPr>
          <p:nvPr>
            <p:ph type="ctrTitle" hasCustomPrompt="1"/>
          </p:nvPr>
        </p:nvSpPr>
        <p:spPr>
          <a:xfrm>
            <a:off x="454025" y="1292224"/>
            <a:ext cx="7477125" cy="709613"/>
          </a:xfrm>
        </p:spPr>
        <p:txBody>
          <a:bodyPr anchor="b"/>
          <a:lstStyle>
            <a:lvl1pPr algn="l">
              <a:defRPr sz="2800">
                <a:solidFill>
                  <a:schemeClr val="bg1"/>
                </a:solidFill>
              </a:defRPr>
            </a:lvl1pPr>
          </a:lstStyle>
          <a:p>
            <a:r>
              <a:rPr lang="en-US" dirty="0"/>
              <a:t>Cover heading</a:t>
            </a:r>
            <a:endParaRPr lang="en-GB" dirty="0"/>
          </a:p>
        </p:txBody>
      </p:sp>
      <p:sp>
        <p:nvSpPr>
          <p:cNvPr id="17" name="Subtitle 2">
            <a:extLst>
              <a:ext uri="{FF2B5EF4-FFF2-40B4-BE49-F238E27FC236}">
                <a16:creationId xmlns:a16="http://schemas.microsoft.com/office/drawing/2014/main" id="{41092413-28F2-4D8A-9F6A-727AF9C5902D}"/>
              </a:ext>
            </a:extLst>
          </p:cNvPr>
          <p:cNvSpPr>
            <a:spLocks noGrp="1"/>
          </p:cNvSpPr>
          <p:nvPr>
            <p:ph type="subTitle" idx="1" hasCustomPrompt="1"/>
          </p:nvPr>
        </p:nvSpPr>
        <p:spPr>
          <a:xfrm>
            <a:off x="454025" y="2049463"/>
            <a:ext cx="7477125" cy="572903"/>
          </a:xfrm>
        </p:spPr>
        <p:txBody>
          <a:bodyPr/>
          <a:lstStyle>
            <a:lvl1pPr marL="0" indent="0" algn="l">
              <a:buNone/>
              <a:defRPr sz="2000">
                <a:solidFill>
                  <a:schemeClr val="bg1"/>
                </a:solidFill>
                <a:latin typeface="Poppins Medium" panose="02000000000000000000" pitchFamily="2" charset="0"/>
                <a:cs typeface="Poppins Medium" panose="020000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endParaRPr lang="en-GB" dirty="0"/>
          </a:p>
        </p:txBody>
      </p:sp>
      <p:sp>
        <p:nvSpPr>
          <p:cNvPr id="18" name="Text Placeholder 9">
            <a:extLst>
              <a:ext uri="{FF2B5EF4-FFF2-40B4-BE49-F238E27FC236}">
                <a16:creationId xmlns:a16="http://schemas.microsoft.com/office/drawing/2014/main" id="{43E646EC-1763-430F-91F9-2160DDE242B3}"/>
              </a:ext>
            </a:extLst>
          </p:cNvPr>
          <p:cNvSpPr>
            <a:spLocks noGrp="1"/>
          </p:cNvSpPr>
          <p:nvPr>
            <p:ph type="body" sz="quarter" idx="10" hasCustomPrompt="1"/>
          </p:nvPr>
        </p:nvSpPr>
        <p:spPr>
          <a:xfrm>
            <a:off x="466725" y="3133725"/>
            <a:ext cx="5532422" cy="295275"/>
          </a:xfrm>
        </p:spPr>
        <p:txBody>
          <a:bodyPr/>
          <a:lstStyle>
            <a:lvl1pPr marL="0" indent="0">
              <a:buNone/>
              <a:defRPr sz="1600">
                <a:solidFill>
                  <a:schemeClr val="bg1"/>
                </a:solidFill>
                <a:latin typeface="Poppins Light" panose="02000000000000000000" pitchFamily="2" charset="0"/>
                <a:cs typeface="Poppins Light" panose="02000000000000000000" pitchFamily="2" charset="0"/>
              </a:defRPr>
            </a:lvl1pPr>
            <a:lvl2pPr marL="246063" indent="0">
              <a:buNone/>
              <a:defRPr sz="1700">
                <a:solidFill>
                  <a:schemeClr val="bg1"/>
                </a:solidFill>
                <a:latin typeface="Poppins Light" panose="02000000000000000000" pitchFamily="2" charset="0"/>
                <a:cs typeface="Poppins Light" panose="02000000000000000000" pitchFamily="2" charset="0"/>
              </a:defRPr>
            </a:lvl2pPr>
            <a:lvl3pPr marL="517525" indent="0">
              <a:buNone/>
              <a:defRPr sz="1700">
                <a:solidFill>
                  <a:schemeClr val="bg1"/>
                </a:solidFill>
                <a:latin typeface="Poppins Light" panose="02000000000000000000" pitchFamily="2" charset="0"/>
                <a:cs typeface="Poppins Light" panose="02000000000000000000" pitchFamily="2" charset="0"/>
              </a:defRPr>
            </a:lvl3pPr>
            <a:lvl4pPr marL="763588" indent="0">
              <a:buNone/>
              <a:defRPr sz="1700">
                <a:solidFill>
                  <a:schemeClr val="bg1"/>
                </a:solidFill>
                <a:latin typeface="Poppins Light" panose="02000000000000000000" pitchFamily="2" charset="0"/>
                <a:cs typeface="Poppins Light" panose="02000000000000000000" pitchFamily="2" charset="0"/>
              </a:defRPr>
            </a:lvl4pPr>
            <a:lvl5pPr marL="1057275" indent="0">
              <a:buNone/>
              <a:defRPr sz="1700">
                <a:solidFill>
                  <a:schemeClr val="bg1"/>
                </a:solidFill>
                <a:latin typeface="Poppins Light" panose="02000000000000000000" pitchFamily="2" charset="0"/>
                <a:cs typeface="Poppins Light" panose="02000000000000000000" pitchFamily="2" charset="0"/>
              </a:defRPr>
            </a:lvl5pPr>
          </a:lstStyle>
          <a:p>
            <a:pPr lvl="0"/>
            <a:r>
              <a:rPr lang="en-US" dirty="0"/>
              <a:t>V[X] DD.MM.YY</a:t>
            </a:r>
            <a:endParaRPr lang="en-GB" dirty="0"/>
          </a:p>
        </p:txBody>
      </p:sp>
      <p:sp>
        <p:nvSpPr>
          <p:cNvPr id="19" name="TextBox 18">
            <a:extLst>
              <a:ext uri="{FF2B5EF4-FFF2-40B4-BE49-F238E27FC236}">
                <a16:creationId xmlns:a16="http://schemas.microsoft.com/office/drawing/2014/main" id="{A3769AA7-1EC7-4450-94B7-9D3AC6096E31}"/>
              </a:ext>
            </a:extLst>
          </p:cNvPr>
          <p:cNvSpPr txBox="1"/>
          <p:nvPr userDrawn="1"/>
        </p:nvSpPr>
        <p:spPr>
          <a:xfrm>
            <a:off x="371474" y="2625438"/>
            <a:ext cx="5627673" cy="338554"/>
          </a:xfrm>
          <a:prstGeom prst="rect">
            <a:avLst/>
          </a:prstGeom>
          <a:noFill/>
        </p:spPr>
        <p:txBody>
          <a:bodyPr wrap="square" rtlCol="0">
            <a:spAutoFit/>
          </a:bodyPr>
          <a:lstStyle/>
          <a:p>
            <a:r>
              <a:rPr lang="en-GB" sz="1600" kern="1200" dirty="0">
                <a:solidFill>
                  <a:schemeClr val="bg1"/>
                </a:solidFill>
                <a:latin typeface="Poppins Light" panose="02000000000000000000" pitchFamily="2" charset="0"/>
                <a:ea typeface="+mn-ea"/>
                <a:cs typeface="Poppins Light" panose="02000000000000000000" pitchFamily="2" charset="0"/>
              </a:rPr>
              <a:t>Document prepared by </a:t>
            </a:r>
            <a:r>
              <a:rPr lang="en-GB" sz="1600" kern="1200" dirty="0" err="1">
                <a:solidFill>
                  <a:schemeClr val="bg1"/>
                </a:solidFill>
                <a:latin typeface="Poppins Light" panose="02000000000000000000" pitchFamily="2" charset="0"/>
                <a:ea typeface="+mn-ea"/>
                <a:cs typeface="Poppins Light" panose="02000000000000000000" pitchFamily="2" charset="0"/>
              </a:rPr>
              <a:t>Zemo</a:t>
            </a:r>
            <a:r>
              <a:rPr lang="en-GB" sz="1600" kern="1200" dirty="0">
                <a:solidFill>
                  <a:schemeClr val="bg1"/>
                </a:solidFill>
                <a:latin typeface="Poppins Light" panose="02000000000000000000" pitchFamily="2" charset="0"/>
                <a:ea typeface="+mn-ea"/>
                <a:cs typeface="Poppins Light" panose="02000000000000000000" pitchFamily="2" charset="0"/>
              </a:rPr>
              <a:t> Partnership</a:t>
            </a:r>
          </a:p>
        </p:txBody>
      </p:sp>
      <p:sp>
        <p:nvSpPr>
          <p:cNvPr id="20" name="TextBox 19">
            <a:extLst>
              <a:ext uri="{FF2B5EF4-FFF2-40B4-BE49-F238E27FC236}">
                <a16:creationId xmlns:a16="http://schemas.microsoft.com/office/drawing/2014/main" id="{0875A574-2E7C-4887-B5DB-501356CB93F3}"/>
              </a:ext>
            </a:extLst>
          </p:cNvPr>
          <p:cNvSpPr txBox="1"/>
          <p:nvPr userDrawn="1"/>
        </p:nvSpPr>
        <p:spPr>
          <a:xfrm>
            <a:off x="373711" y="6336122"/>
            <a:ext cx="3872286" cy="338554"/>
          </a:xfrm>
          <a:prstGeom prst="rect">
            <a:avLst/>
          </a:prstGeom>
          <a:noFill/>
        </p:spPr>
        <p:txBody>
          <a:bodyPr wrap="square" rtlCol="0">
            <a:spAutoFit/>
          </a:bodyPr>
          <a:lstStyle/>
          <a:p>
            <a:r>
              <a:rPr lang="en-GB" sz="800" dirty="0">
                <a:solidFill>
                  <a:schemeClr val="bg1"/>
                </a:solidFill>
                <a:latin typeface="Poppins Medium" panose="02000000000000000000" pitchFamily="2" charset="0"/>
                <a:cs typeface="Poppins Medium" panose="02000000000000000000" pitchFamily="2" charset="0"/>
              </a:rPr>
              <a:t>Strictly private and confidential</a:t>
            </a:r>
          </a:p>
          <a:p>
            <a:r>
              <a:rPr lang="en-GB" sz="800" dirty="0" err="1">
                <a:solidFill>
                  <a:schemeClr val="bg1"/>
                </a:solidFill>
                <a:latin typeface="Poppins Light" panose="02000000000000000000" pitchFamily="2" charset="0"/>
                <a:cs typeface="Poppins Light" panose="02000000000000000000" pitchFamily="2" charset="0"/>
              </a:rPr>
              <a:t>Zemo</a:t>
            </a:r>
            <a:r>
              <a:rPr lang="en-GB" sz="800" dirty="0">
                <a:solidFill>
                  <a:schemeClr val="bg1"/>
                </a:solidFill>
                <a:latin typeface="Poppins Light" panose="02000000000000000000" pitchFamily="2" charset="0"/>
                <a:cs typeface="Poppins Light" panose="02000000000000000000" pitchFamily="2" charset="0"/>
              </a:rPr>
              <a:t> Partnership © Copyright 2021</a:t>
            </a:r>
          </a:p>
        </p:txBody>
      </p:sp>
      <p:pic>
        <p:nvPicPr>
          <p:cNvPr id="21" name="Picture 20">
            <a:extLst>
              <a:ext uri="{FF2B5EF4-FFF2-40B4-BE49-F238E27FC236}">
                <a16:creationId xmlns:a16="http://schemas.microsoft.com/office/drawing/2014/main" id="{CCAC3C35-AFC4-4898-9214-536B751EA27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800891" y="155564"/>
            <a:ext cx="4210134" cy="1731974"/>
          </a:xfrm>
          <a:prstGeom prst="rect">
            <a:avLst/>
          </a:prstGeom>
        </p:spPr>
      </p:pic>
    </p:spTree>
    <p:extLst>
      <p:ext uri="{BB962C8B-B14F-4D97-AF65-F5344CB8AC3E}">
        <p14:creationId xmlns:p14="http://schemas.microsoft.com/office/powerpoint/2010/main" val="14449111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elcome slide">
    <p:spTree>
      <p:nvGrpSpPr>
        <p:cNvPr id="1" name=""/>
        <p:cNvGrpSpPr/>
        <p:nvPr/>
      </p:nvGrpSpPr>
      <p:grpSpPr>
        <a:xfrm>
          <a:off x="0" y="0"/>
          <a:ext cx="0" cy="0"/>
          <a:chOff x="0" y="0"/>
          <a:chExt cx="0" cy="0"/>
        </a:xfrm>
      </p:grpSpPr>
      <p:sp>
        <p:nvSpPr>
          <p:cNvPr id="113" name="Rectangle 112">
            <a:extLst>
              <a:ext uri="{FF2B5EF4-FFF2-40B4-BE49-F238E27FC236}">
                <a16:creationId xmlns:a16="http://schemas.microsoft.com/office/drawing/2014/main" id="{A4324F8C-6180-4AF9-98F0-06A2DC0D016F}"/>
              </a:ext>
            </a:extLst>
          </p:cNvPr>
          <p:cNvSpPr/>
          <p:nvPr userDrawn="1"/>
        </p:nvSpPr>
        <p:spPr>
          <a:xfrm>
            <a:off x="7410450" y="0"/>
            <a:ext cx="4679950" cy="14537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49723DD5-EB76-4DE3-BEAD-43111479518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377"/>
            <a:ext cx="12192000" cy="6849245"/>
          </a:xfrm>
          <a:prstGeom prst="rect">
            <a:avLst/>
          </a:prstGeom>
        </p:spPr>
      </p:pic>
      <p:sp>
        <p:nvSpPr>
          <p:cNvPr id="10" name="Text Placeholder 9">
            <a:extLst>
              <a:ext uri="{FF2B5EF4-FFF2-40B4-BE49-F238E27FC236}">
                <a16:creationId xmlns:a16="http://schemas.microsoft.com/office/drawing/2014/main" id="{F17F64DC-56E0-458F-A3CF-F3466E54783B}"/>
              </a:ext>
            </a:extLst>
          </p:cNvPr>
          <p:cNvSpPr>
            <a:spLocks noGrp="1"/>
          </p:cNvSpPr>
          <p:nvPr>
            <p:ph type="body" sz="quarter" idx="11" hasCustomPrompt="1"/>
          </p:nvPr>
        </p:nvSpPr>
        <p:spPr>
          <a:xfrm>
            <a:off x="472355" y="2285065"/>
            <a:ext cx="6814270" cy="947738"/>
          </a:xfrm>
        </p:spPr>
        <p:txBody>
          <a:bodyPr anchor="b"/>
          <a:lstStyle>
            <a:lvl1pPr marL="0" indent="0">
              <a:buNone/>
              <a:defRPr lang="en-GB" sz="2800" kern="1200" dirty="0">
                <a:solidFill>
                  <a:schemeClr val="tx1"/>
                </a:solidFill>
                <a:latin typeface="Poppins SemiBold" panose="02000000000000000000" pitchFamily="2" charset="0"/>
                <a:ea typeface="+mn-ea"/>
                <a:cs typeface="Poppins SemiBold"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Welcome message</a:t>
            </a:r>
            <a:endParaRPr lang="en-GB" dirty="0"/>
          </a:p>
        </p:txBody>
      </p:sp>
      <p:sp>
        <p:nvSpPr>
          <p:cNvPr id="13" name="Text Placeholder 9">
            <a:extLst>
              <a:ext uri="{FF2B5EF4-FFF2-40B4-BE49-F238E27FC236}">
                <a16:creationId xmlns:a16="http://schemas.microsoft.com/office/drawing/2014/main" id="{1330728E-CCE2-49A6-BF72-C9DC5C2E8A97}"/>
              </a:ext>
            </a:extLst>
          </p:cNvPr>
          <p:cNvSpPr>
            <a:spLocks noGrp="1"/>
          </p:cNvSpPr>
          <p:nvPr>
            <p:ph type="body" sz="quarter" idx="12" hasCustomPrompt="1"/>
          </p:nvPr>
        </p:nvSpPr>
        <p:spPr>
          <a:xfrm>
            <a:off x="472355" y="3352799"/>
            <a:ext cx="6814270" cy="947738"/>
          </a:xfrm>
        </p:spPr>
        <p:txBody>
          <a:bodyPr anchor="t"/>
          <a:lstStyle>
            <a:lvl1pPr marL="0" indent="0">
              <a:lnSpc>
                <a:spcPct val="125000"/>
              </a:lnSpc>
              <a:buNone/>
              <a:defRPr lang="en-GB" sz="2000" kern="1200" dirty="0">
                <a:solidFill>
                  <a:schemeClr val="tx1"/>
                </a:solidFill>
                <a:latin typeface="Poppins" panose="02000000000000000000" pitchFamily="2" charset="0"/>
                <a:ea typeface="+mn-ea"/>
                <a:cs typeface="Poppins"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marL="0" lvl="0" indent="0" algn="l" defTabSz="914400" rtl="0" eaLnBrk="1" latinLnBrk="0" hangingPunct="1">
              <a:lnSpc>
                <a:spcPct val="105000"/>
              </a:lnSpc>
              <a:spcBef>
                <a:spcPts val="1000"/>
              </a:spcBef>
              <a:buFont typeface="Wingdings 2" panose="05020102010507070707" pitchFamily="18" charset="2"/>
              <a:buNone/>
            </a:pPr>
            <a:r>
              <a:rPr lang="en-US" dirty="0"/>
              <a:t>Intro text</a:t>
            </a:r>
            <a:endParaRPr lang="en-GB" dirty="0"/>
          </a:p>
        </p:txBody>
      </p:sp>
      <p:sp>
        <p:nvSpPr>
          <p:cNvPr id="14" name="Slide Number Placeholder 5">
            <a:extLst>
              <a:ext uri="{FF2B5EF4-FFF2-40B4-BE49-F238E27FC236}">
                <a16:creationId xmlns:a16="http://schemas.microsoft.com/office/drawing/2014/main" id="{65D0E4C5-7D36-45F4-B3E1-95B4112FD1C6}"/>
              </a:ext>
            </a:extLst>
          </p:cNvPr>
          <p:cNvSpPr txBox="1">
            <a:spLocks/>
          </p:cNvSpPr>
          <p:nvPr userDrawn="1"/>
        </p:nvSpPr>
        <p:spPr>
          <a:xfrm>
            <a:off x="11387579"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Tree>
    <p:extLst>
      <p:ext uri="{BB962C8B-B14F-4D97-AF65-F5344CB8AC3E}">
        <p14:creationId xmlns:p14="http://schemas.microsoft.com/office/powerpoint/2010/main" val="40121827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1E5ADEC-E127-419F-A280-E5C4222E2B3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
            <a:ext cx="12192000" cy="6868136"/>
          </a:xfrm>
          <a:prstGeom prst="rect">
            <a:avLst/>
          </a:prstGeom>
        </p:spPr>
      </p:pic>
      <p:sp>
        <p:nvSpPr>
          <p:cNvPr id="5" name="Slide Number Placeholder 5">
            <a:extLst>
              <a:ext uri="{FF2B5EF4-FFF2-40B4-BE49-F238E27FC236}">
                <a16:creationId xmlns:a16="http://schemas.microsoft.com/office/drawing/2014/main" id="{F58BACA4-09F8-4DB1-8B64-D9DBE49FAD79}"/>
              </a:ext>
            </a:extLst>
          </p:cNvPr>
          <p:cNvSpPr txBox="1">
            <a:spLocks/>
          </p:cNvSpPr>
          <p:nvPr userDrawn="1"/>
        </p:nvSpPr>
        <p:spPr>
          <a:xfrm>
            <a:off x="11387579"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
        <p:nvSpPr>
          <p:cNvPr id="7" name="TextBox 6">
            <a:extLst>
              <a:ext uri="{FF2B5EF4-FFF2-40B4-BE49-F238E27FC236}">
                <a16:creationId xmlns:a16="http://schemas.microsoft.com/office/drawing/2014/main" id="{51E0042B-1C8B-4A3E-9E6E-E4C9DBB09E41}"/>
              </a:ext>
            </a:extLst>
          </p:cNvPr>
          <p:cNvSpPr txBox="1"/>
          <p:nvPr userDrawn="1"/>
        </p:nvSpPr>
        <p:spPr>
          <a:xfrm>
            <a:off x="374251" y="416758"/>
            <a:ext cx="3562350" cy="490904"/>
          </a:xfrm>
          <a:prstGeom prst="rect">
            <a:avLst/>
          </a:prstGeom>
          <a:noFill/>
        </p:spPr>
        <p:txBody>
          <a:bodyPr wrap="square" rtlCol="0">
            <a:spAutoFit/>
          </a:bodyPr>
          <a:lstStyle/>
          <a:p>
            <a:pPr algn="l" defTabSz="914400" rtl="0" eaLnBrk="1" latinLnBrk="0" hangingPunct="1">
              <a:lnSpc>
                <a:spcPct val="90000"/>
              </a:lnSpc>
              <a:spcBef>
                <a:spcPct val="0"/>
              </a:spcBef>
              <a:buNone/>
            </a:pPr>
            <a:r>
              <a:rPr lang="en-GB" sz="2800" kern="1200" dirty="0">
                <a:solidFill>
                  <a:schemeClr val="tx1"/>
                </a:solidFill>
                <a:latin typeface="Poppins SemiBold" panose="02000000000000000000" pitchFamily="2" charset="0"/>
                <a:ea typeface="+mj-ea"/>
                <a:cs typeface="Poppins SemiBold" panose="02000000000000000000" pitchFamily="2" charset="0"/>
              </a:rPr>
              <a:t>Contents</a:t>
            </a:r>
          </a:p>
        </p:txBody>
      </p:sp>
      <p:sp>
        <p:nvSpPr>
          <p:cNvPr id="10" name="Text Placeholder 9">
            <a:extLst>
              <a:ext uri="{FF2B5EF4-FFF2-40B4-BE49-F238E27FC236}">
                <a16:creationId xmlns:a16="http://schemas.microsoft.com/office/drawing/2014/main" id="{45F03983-1BAE-417E-9BA3-2B5A03F750CE}"/>
              </a:ext>
            </a:extLst>
          </p:cNvPr>
          <p:cNvSpPr>
            <a:spLocks noGrp="1"/>
          </p:cNvSpPr>
          <p:nvPr>
            <p:ph type="body" sz="quarter" idx="13" hasCustomPrompt="1"/>
          </p:nvPr>
        </p:nvSpPr>
        <p:spPr>
          <a:xfrm>
            <a:off x="466724" y="1841500"/>
            <a:ext cx="9286875" cy="4178300"/>
          </a:xfrm>
        </p:spPr>
        <p:txBody>
          <a:bodyPr/>
          <a:lstStyle>
            <a:lvl1pPr marL="266700" indent="-266700">
              <a:buFont typeface="+mj-lt"/>
              <a:buAutoNum type="arabicPeriod"/>
              <a:defRPr>
                <a:latin typeface="Poppins Light" panose="02000000000000000000" pitchFamily="2" charset="0"/>
                <a:cs typeface="Poppins Light" panose="02000000000000000000" pitchFamily="2" charset="0"/>
              </a:defRPr>
            </a:lvl1pPr>
            <a:lvl2pPr marL="703263" indent="-457200">
              <a:buFont typeface="+mj-lt"/>
              <a:buAutoNum type="arabicPeriod"/>
              <a:defRPr>
                <a:latin typeface="Poppins Light" panose="02000000000000000000" pitchFamily="2" charset="0"/>
                <a:cs typeface="Poppins Light" panose="02000000000000000000" pitchFamily="2" charset="0"/>
              </a:defRPr>
            </a:lvl2pPr>
            <a:lvl3pPr marL="974725" indent="-457200">
              <a:buFont typeface="+mj-lt"/>
              <a:buAutoNum type="arabicPeriod"/>
              <a:defRPr>
                <a:latin typeface="Poppins Light" panose="02000000000000000000" pitchFamily="2" charset="0"/>
                <a:cs typeface="Poppins Light" panose="02000000000000000000" pitchFamily="2" charset="0"/>
              </a:defRPr>
            </a:lvl3pPr>
            <a:lvl4pPr marL="1220788" indent="-457200">
              <a:buFont typeface="+mj-lt"/>
              <a:buAutoNum type="arabicPeriod"/>
              <a:defRPr>
                <a:latin typeface="Poppins Light" panose="02000000000000000000" pitchFamily="2" charset="0"/>
                <a:cs typeface="Poppins Light" panose="02000000000000000000" pitchFamily="2" charset="0"/>
              </a:defRPr>
            </a:lvl4pPr>
            <a:lvl5pPr marL="1514475" indent="-457200">
              <a:buFont typeface="+mj-lt"/>
              <a:buAutoNum type="arabicPeriod"/>
              <a:defRPr>
                <a:latin typeface="Poppins Light" panose="02000000000000000000" pitchFamily="2" charset="0"/>
                <a:cs typeface="Poppins Light" panose="02000000000000000000" pitchFamily="2" charset="0"/>
              </a:defRPr>
            </a:lvl5pPr>
          </a:lstStyle>
          <a:p>
            <a:pPr lvl="0"/>
            <a:r>
              <a:rPr lang="en-US" dirty="0"/>
              <a:t>First chapter</a:t>
            </a:r>
            <a:endParaRPr lang="en-GB" dirty="0"/>
          </a:p>
        </p:txBody>
      </p:sp>
    </p:spTree>
    <p:extLst>
      <p:ext uri="{BB962C8B-B14F-4D97-AF65-F5344CB8AC3E}">
        <p14:creationId xmlns:p14="http://schemas.microsoft.com/office/powerpoint/2010/main" val="27660952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BE085FCD-5D45-4D4A-A910-A60777AC0BE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750628" y="5152571"/>
            <a:ext cx="4441371" cy="1702866"/>
          </a:xfrm>
          <a:prstGeom prst="rect">
            <a:avLst/>
          </a:prstGeom>
        </p:spPr>
      </p:pic>
      <p:sp>
        <p:nvSpPr>
          <p:cNvPr id="2" name="Title 1">
            <a:extLst>
              <a:ext uri="{FF2B5EF4-FFF2-40B4-BE49-F238E27FC236}">
                <a16:creationId xmlns:a16="http://schemas.microsoft.com/office/drawing/2014/main" id="{086B2ED4-0683-4869-85D3-EDA0DE8E01EB}"/>
              </a:ext>
            </a:extLst>
          </p:cNvPr>
          <p:cNvSpPr>
            <a:spLocks noGrp="1"/>
          </p:cNvSpPr>
          <p:nvPr>
            <p:ph type="title" hasCustomPrompt="1"/>
          </p:nvPr>
        </p:nvSpPr>
        <p:spPr>
          <a:xfrm>
            <a:off x="460217" y="25399"/>
            <a:ext cx="8861583" cy="831103"/>
          </a:xfrm>
        </p:spPr>
        <p:txBody>
          <a:bodyPr/>
          <a:lstStyle>
            <a:lvl1pPr>
              <a:defRPr>
                <a:solidFill>
                  <a:schemeClr val="tx1"/>
                </a:solidFill>
              </a:defRPr>
            </a:lvl1pPr>
          </a:lstStyle>
          <a:p>
            <a:r>
              <a:rPr lang="en-US" dirty="0"/>
              <a:t>Copy slide</a:t>
            </a:r>
            <a:endParaRPr lang="en-GB" dirty="0"/>
          </a:p>
        </p:txBody>
      </p:sp>
      <p:sp>
        <p:nvSpPr>
          <p:cNvPr id="10" name="Slide Number Placeholder 5">
            <a:extLst>
              <a:ext uri="{FF2B5EF4-FFF2-40B4-BE49-F238E27FC236}">
                <a16:creationId xmlns:a16="http://schemas.microsoft.com/office/drawing/2014/main" id="{5C517DD7-9B52-4C3D-93EC-7DF500CB37F5}"/>
              </a:ext>
            </a:extLst>
          </p:cNvPr>
          <p:cNvSpPr txBox="1">
            <a:spLocks/>
          </p:cNvSpPr>
          <p:nvPr userDrawn="1"/>
        </p:nvSpPr>
        <p:spPr>
          <a:xfrm>
            <a:off x="11387579" y="6472153"/>
            <a:ext cx="341983" cy="211451"/>
          </a:xfrm>
          <a:prstGeom prst="rect">
            <a:avLst/>
          </a:prstGeom>
          <a:noFill/>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
        <p:nvSpPr>
          <p:cNvPr id="15" name="Text Placeholder 9">
            <a:extLst>
              <a:ext uri="{FF2B5EF4-FFF2-40B4-BE49-F238E27FC236}">
                <a16:creationId xmlns:a16="http://schemas.microsoft.com/office/drawing/2014/main" id="{257988F4-7951-43F6-8543-39FB2E2B33D7}"/>
              </a:ext>
            </a:extLst>
          </p:cNvPr>
          <p:cNvSpPr>
            <a:spLocks noGrp="1"/>
          </p:cNvSpPr>
          <p:nvPr>
            <p:ph type="body" sz="quarter" idx="13" hasCustomPrompt="1"/>
          </p:nvPr>
        </p:nvSpPr>
        <p:spPr>
          <a:xfrm>
            <a:off x="472354" y="1804874"/>
            <a:ext cx="8870691" cy="947738"/>
          </a:xfrm>
        </p:spPr>
        <p:txBody>
          <a:bodyPr anchor="t"/>
          <a:lstStyle>
            <a:lvl1pPr marL="0" indent="0">
              <a:buNone/>
              <a:defRPr lang="en-GB" sz="2000" kern="1200" dirty="0">
                <a:solidFill>
                  <a:schemeClr val="tx1"/>
                </a:solidFill>
                <a:latin typeface="Poppins Medium" panose="02000000000000000000" pitchFamily="2" charset="0"/>
                <a:ea typeface="+mn-ea"/>
                <a:cs typeface="Poppins Medium"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Intro paragraph over 2 lines. Lorem ipsum dolor sit </a:t>
            </a:r>
            <a:r>
              <a:rPr lang="en-US" dirty="0" err="1"/>
              <a:t>amet</a:t>
            </a:r>
            <a:r>
              <a:rPr lang="en-US" dirty="0"/>
              <a:t>, do </a:t>
            </a:r>
            <a:r>
              <a:rPr lang="en-US" dirty="0" err="1"/>
              <a:t>eiusmod</a:t>
            </a:r>
            <a:r>
              <a:rPr lang="en-US" dirty="0"/>
              <a:t> </a:t>
            </a:r>
            <a:r>
              <a:rPr lang="en-US" dirty="0" err="1"/>
              <a:t>ut</a:t>
            </a:r>
            <a:r>
              <a:rPr lang="en-US" dirty="0"/>
              <a:t> </a:t>
            </a:r>
            <a:r>
              <a:rPr lang="en-US" dirty="0" err="1"/>
              <a:t>labore</a:t>
            </a:r>
            <a:r>
              <a:rPr lang="en-US" dirty="0"/>
              <a:t> et dolore magna.</a:t>
            </a:r>
            <a:endParaRPr lang="en-GB" dirty="0"/>
          </a:p>
        </p:txBody>
      </p:sp>
      <p:sp>
        <p:nvSpPr>
          <p:cNvPr id="16" name="Text Placeholder 9">
            <a:extLst>
              <a:ext uri="{FF2B5EF4-FFF2-40B4-BE49-F238E27FC236}">
                <a16:creationId xmlns:a16="http://schemas.microsoft.com/office/drawing/2014/main" id="{2AD193AA-A4C9-47A8-ADB8-A66F57036439}"/>
              </a:ext>
            </a:extLst>
          </p:cNvPr>
          <p:cNvSpPr>
            <a:spLocks noGrp="1"/>
          </p:cNvSpPr>
          <p:nvPr>
            <p:ph type="body" sz="quarter" idx="14" hasCustomPrompt="1"/>
          </p:nvPr>
        </p:nvSpPr>
        <p:spPr>
          <a:xfrm>
            <a:off x="472354" y="2769444"/>
            <a:ext cx="8870692" cy="3185482"/>
          </a:xfrm>
        </p:spPr>
        <p:txBody>
          <a:bodyPr anchor="t"/>
          <a:lstStyle>
            <a:lvl1pPr marL="0" indent="0">
              <a:buNone/>
              <a:defRPr lang="en-GB" sz="1800" kern="1200" dirty="0">
                <a:solidFill>
                  <a:schemeClr val="tx1"/>
                </a:solidFill>
                <a:latin typeface="Poppins Light" panose="02000000000000000000" pitchFamily="2" charset="0"/>
                <a:ea typeface="+mn-ea"/>
                <a:cs typeface="Poppins Light"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non </a:t>
            </a:r>
            <a:r>
              <a:rPr lang="en-US" dirty="0" err="1"/>
              <a:t>proident</a:t>
            </a:r>
            <a:r>
              <a:rPr lang="en-US" dirty="0"/>
              <a:t>, sunt in culpa qui official.</a:t>
            </a:r>
            <a:endParaRPr lang="en-GB" dirty="0"/>
          </a:p>
        </p:txBody>
      </p:sp>
      <p:sp>
        <p:nvSpPr>
          <p:cNvPr id="8" name="Text Placeholder 9">
            <a:extLst>
              <a:ext uri="{FF2B5EF4-FFF2-40B4-BE49-F238E27FC236}">
                <a16:creationId xmlns:a16="http://schemas.microsoft.com/office/drawing/2014/main" id="{55D58C01-3B17-4846-BD83-EC99A27B9008}"/>
              </a:ext>
            </a:extLst>
          </p:cNvPr>
          <p:cNvSpPr>
            <a:spLocks noGrp="1"/>
          </p:cNvSpPr>
          <p:nvPr>
            <p:ph type="body" sz="quarter" idx="12" hasCustomPrompt="1"/>
          </p:nvPr>
        </p:nvSpPr>
        <p:spPr>
          <a:xfrm>
            <a:off x="463808" y="903074"/>
            <a:ext cx="8870691" cy="729174"/>
          </a:xfrm>
        </p:spPr>
        <p:txBody>
          <a:bodyPr anchor="t"/>
          <a:lstStyle>
            <a:lvl1pPr marL="0" indent="0">
              <a:lnSpc>
                <a:spcPct val="125000"/>
              </a:lnSpc>
              <a:buNone/>
              <a:defRPr lang="en-GB" sz="1900" kern="1200" dirty="0">
                <a:solidFill>
                  <a:schemeClr val="tx1"/>
                </a:solidFill>
                <a:latin typeface="Poppins Medium" panose="02000000000000000000" pitchFamily="2" charset="0"/>
                <a:ea typeface="+mn-ea"/>
                <a:cs typeface="Poppins Medium"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marL="0" lvl="0" indent="0" algn="l" defTabSz="914400" rtl="0" eaLnBrk="1" latinLnBrk="0" hangingPunct="1">
              <a:lnSpc>
                <a:spcPct val="105000"/>
              </a:lnSpc>
              <a:spcBef>
                <a:spcPts val="1000"/>
              </a:spcBef>
              <a:buFont typeface="Wingdings 2" panose="05020102010507070707" pitchFamily="18" charset="2"/>
              <a:buNone/>
            </a:pPr>
            <a:r>
              <a:rPr lang="en-US" dirty="0"/>
              <a:t>Sub-heading</a:t>
            </a:r>
            <a:endParaRPr lang="en-GB" dirty="0"/>
          </a:p>
        </p:txBody>
      </p:sp>
    </p:spTree>
    <p:extLst>
      <p:ext uri="{BB962C8B-B14F-4D97-AF65-F5344CB8AC3E}">
        <p14:creationId xmlns:p14="http://schemas.microsoft.com/office/powerpoint/2010/main" val="18806447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Slide v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1E5ADEC-E127-419F-A280-E5C4222E2B3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
            <a:ext cx="12192000" cy="6868136"/>
          </a:xfrm>
          <a:prstGeom prst="rect">
            <a:avLst/>
          </a:prstGeom>
        </p:spPr>
      </p:pic>
      <p:sp>
        <p:nvSpPr>
          <p:cNvPr id="5" name="Slide Number Placeholder 5">
            <a:extLst>
              <a:ext uri="{FF2B5EF4-FFF2-40B4-BE49-F238E27FC236}">
                <a16:creationId xmlns:a16="http://schemas.microsoft.com/office/drawing/2014/main" id="{F58BACA4-09F8-4DB1-8B64-D9DBE49FAD79}"/>
              </a:ext>
            </a:extLst>
          </p:cNvPr>
          <p:cNvSpPr txBox="1">
            <a:spLocks/>
          </p:cNvSpPr>
          <p:nvPr userDrawn="1"/>
        </p:nvSpPr>
        <p:spPr>
          <a:xfrm>
            <a:off x="11387579"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
        <p:nvSpPr>
          <p:cNvPr id="9" name="Title 1">
            <a:extLst>
              <a:ext uri="{FF2B5EF4-FFF2-40B4-BE49-F238E27FC236}">
                <a16:creationId xmlns:a16="http://schemas.microsoft.com/office/drawing/2014/main" id="{F1FCFB85-7EFE-467F-9266-FA018755DD71}"/>
              </a:ext>
            </a:extLst>
          </p:cNvPr>
          <p:cNvSpPr>
            <a:spLocks noGrp="1"/>
          </p:cNvSpPr>
          <p:nvPr>
            <p:ph type="title" hasCustomPrompt="1"/>
          </p:nvPr>
        </p:nvSpPr>
        <p:spPr>
          <a:xfrm>
            <a:off x="460217" y="25399"/>
            <a:ext cx="8861583" cy="831103"/>
          </a:xfrm>
        </p:spPr>
        <p:txBody>
          <a:bodyPr/>
          <a:lstStyle>
            <a:lvl1pPr>
              <a:defRPr>
                <a:solidFill>
                  <a:schemeClr val="tx1"/>
                </a:solidFill>
              </a:defRPr>
            </a:lvl1pPr>
          </a:lstStyle>
          <a:p>
            <a:r>
              <a:rPr lang="en-US" dirty="0"/>
              <a:t>Copy slide</a:t>
            </a:r>
            <a:endParaRPr lang="en-GB" dirty="0"/>
          </a:p>
        </p:txBody>
      </p:sp>
      <p:sp>
        <p:nvSpPr>
          <p:cNvPr id="11" name="Text Placeholder 9">
            <a:extLst>
              <a:ext uri="{FF2B5EF4-FFF2-40B4-BE49-F238E27FC236}">
                <a16:creationId xmlns:a16="http://schemas.microsoft.com/office/drawing/2014/main" id="{421D7166-FD5F-4100-9CAC-9A68D0F63270}"/>
              </a:ext>
            </a:extLst>
          </p:cNvPr>
          <p:cNvSpPr>
            <a:spLocks noGrp="1"/>
          </p:cNvSpPr>
          <p:nvPr>
            <p:ph type="body" sz="quarter" idx="12" hasCustomPrompt="1"/>
          </p:nvPr>
        </p:nvSpPr>
        <p:spPr>
          <a:xfrm>
            <a:off x="463808" y="903074"/>
            <a:ext cx="8870691" cy="729174"/>
          </a:xfrm>
        </p:spPr>
        <p:txBody>
          <a:bodyPr anchor="t"/>
          <a:lstStyle>
            <a:lvl1pPr marL="0" indent="0">
              <a:buNone/>
              <a:defRPr lang="en-GB" sz="1900" kern="1200" dirty="0">
                <a:solidFill>
                  <a:schemeClr val="tx1"/>
                </a:solidFill>
                <a:latin typeface="Poppins Medium" panose="02000000000000000000" pitchFamily="2" charset="0"/>
                <a:ea typeface="+mn-ea"/>
                <a:cs typeface="Poppins Medium"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marL="0" lvl="0" indent="0" algn="l" defTabSz="914400" rtl="0" eaLnBrk="1" latinLnBrk="0" hangingPunct="1">
              <a:lnSpc>
                <a:spcPct val="105000"/>
              </a:lnSpc>
              <a:spcBef>
                <a:spcPts val="1000"/>
              </a:spcBef>
              <a:buFont typeface="Wingdings 2" panose="05020102010507070707" pitchFamily="18" charset="2"/>
              <a:buNone/>
            </a:pPr>
            <a:r>
              <a:rPr lang="en-US" dirty="0"/>
              <a:t>Sub-heading</a:t>
            </a:r>
            <a:endParaRPr lang="en-GB" dirty="0"/>
          </a:p>
        </p:txBody>
      </p:sp>
      <p:sp>
        <p:nvSpPr>
          <p:cNvPr id="12" name="Text Placeholder 9">
            <a:extLst>
              <a:ext uri="{FF2B5EF4-FFF2-40B4-BE49-F238E27FC236}">
                <a16:creationId xmlns:a16="http://schemas.microsoft.com/office/drawing/2014/main" id="{8901880E-8A9D-4AE3-9136-1DA35B747D1C}"/>
              </a:ext>
            </a:extLst>
          </p:cNvPr>
          <p:cNvSpPr>
            <a:spLocks noGrp="1"/>
          </p:cNvSpPr>
          <p:nvPr>
            <p:ph type="body" sz="quarter" idx="13" hasCustomPrompt="1"/>
          </p:nvPr>
        </p:nvSpPr>
        <p:spPr>
          <a:xfrm>
            <a:off x="472354" y="1804874"/>
            <a:ext cx="8849446" cy="947738"/>
          </a:xfrm>
        </p:spPr>
        <p:txBody>
          <a:bodyPr anchor="t"/>
          <a:lstStyle>
            <a:lvl1pPr marL="0" indent="0">
              <a:buNone/>
              <a:defRPr lang="en-GB" sz="2000" kern="1200" dirty="0">
                <a:solidFill>
                  <a:schemeClr val="tx1"/>
                </a:solidFill>
                <a:latin typeface="Poppins Medium" panose="02000000000000000000" pitchFamily="2" charset="0"/>
                <a:ea typeface="+mn-ea"/>
                <a:cs typeface="Poppins Medium"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Intro paragraph over 2 lines. Lorem ipsum dolor sit </a:t>
            </a:r>
            <a:r>
              <a:rPr lang="en-US" dirty="0" err="1"/>
              <a:t>amet</a:t>
            </a:r>
            <a:r>
              <a:rPr lang="en-US" dirty="0"/>
              <a:t>, do </a:t>
            </a:r>
            <a:r>
              <a:rPr lang="en-US" dirty="0" err="1"/>
              <a:t>eiusmod</a:t>
            </a:r>
            <a:r>
              <a:rPr lang="en-US" dirty="0"/>
              <a:t> </a:t>
            </a:r>
            <a:r>
              <a:rPr lang="en-US" dirty="0" err="1"/>
              <a:t>ut</a:t>
            </a:r>
            <a:r>
              <a:rPr lang="en-US" dirty="0"/>
              <a:t> </a:t>
            </a:r>
            <a:r>
              <a:rPr lang="en-US" dirty="0" err="1"/>
              <a:t>labore</a:t>
            </a:r>
            <a:r>
              <a:rPr lang="en-US" dirty="0"/>
              <a:t> et dolore magna.</a:t>
            </a:r>
            <a:endParaRPr lang="en-GB" dirty="0"/>
          </a:p>
        </p:txBody>
      </p:sp>
      <p:sp>
        <p:nvSpPr>
          <p:cNvPr id="13" name="Text Placeholder 9">
            <a:extLst>
              <a:ext uri="{FF2B5EF4-FFF2-40B4-BE49-F238E27FC236}">
                <a16:creationId xmlns:a16="http://schemas.microsoft.com/office/drawing/2014/main" id="{C29C0D83-8C58-4C5C-A6A6-8C3AAD0D7F1C}"/>
              </a:ext>
            </a:extLst>
          </p:cNvPr>
          <p:cNvSpPr>
            <a:spLocks noGrp="1"/>
          </p:cNvSpPr>
          <p:nvPr>
            <p:ph type="body" sz="quarter" idx="14" hasCustomPrompt="1"/>
          </p:nvPr>
        </p:nvSpPr>
        <p:spPr>
          <a:xfrm>
            <a:off x="472354" y="2752612"/>
            <a:ext cx="8849446" cy="2792782"/>
          </a:xfrm>
        </p:spPr>
        <p:txBody>
          <a:bodyPr anchor="t"/>
          <a:lstStyle>
            <a:lvl1pPr marL="0" indent="0">
              <a:buNone/>
              <a:defRPr lang="en-GB" sz="1800" kern="1200" dirty="0">
                <a:solidFill>
                  <a:schemeClr val="tx1"/>
                </a:solidFill>
                <a:latin typeface="Poppins Light" panose="02000000000000000000" pitchFamily="2" charset="0"/>
                <a:ea typeface="+mn-ea"/>
                <a:cs typeface="Poppins Light"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non </a:t>
            </a:r>
            <a:r>
              <a:rPr lang="en-US" dirty="0" err="1"/>
              <a:t>proident</a:t>
            </a:r>
            <a:r>
              <a:rPr lang="en-US" dirty="0"/>
              <a:t>, sunt in culpa qui official.</a:t>
            </a:r>
            <a:endParaRPr lang="en-GB" dirty="0"/>
          </a:p>
        </p:txBody>
      </p:sp>
    </p:spTree>
    <p:extLst>
      <p:ext uri="{BB962C8B-B14F-4D97-AF65-F5344CB8AC3E}">
        <p14:creationId xmlns:p14="http://schemas.microsoft.com/office/powerpoint/2010/main" val="5976504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s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6B2ED4-0683-4869-85D3-EDA0DE8E01EB}"/>
              </a:ext>
            </a:extLst>
          </p:cNvPr>
          <p:cNvSpPr>
            <a:spLocks noGrp="1"/>
          </p:cNvSpPr>
          <p:nvPr>
            <p:ph type="title" hasCustomPrompt="1"/>
          </p:nvPr>
        </p:nvSpPr>
        <p:spPr>
          <a:xfrm>
            <a:off x="472917" y="-10613"/>
            <a:ext cx="8861583" cy="852602"/>
          </a:xfrm>
        </p:spPr>
        <p:txBody>
          <a:bodyPr/>
          <a:lstStyle>
            <a:lvl1pPr>
              <a:defRPr>
                <a:solidFill>
                  <a:schemeClr val="tx1"/>
                </a:solidFill>
              </a:defRPr>
            </a:lvl1pPr>
          </a:lstStyle>
          <a:p>
            <a:r>
              <a:rPr lang="en-US" dirty="0"/>
              <a:t>Bullets slide</a:t>
            </a:r>
            <a:endParaRPr lang="en-GB" dirty="0"/>
          </a:p>
        </p:txBody>
      </p:sp>
      <p:sp>
        <p:nvSpPr>
          <p:cNvPr id="3" name="Content Placeholder 2">
            <a:extLst>
              <a:ext uri="{FF2B5EF4-FFF2-40B4-BE49-F238E27FC236}">
                <a16:creationId xmlns:a16="http://schemas.microsoft.com/office/drawing/2014/main" id="{554F0A75-3481-44BF-B53C-CF96990D8914}"/>
              </a:ext>
            </a:extLst>
          </p:cNvPr>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Slide Number Placeholder 5">
            <a:extLst>
              <a:ext uri="{FF2B5EF4-FFF2-40B4-BE49-F238E27FC236}">
                <a16:creationId xmlns:a16="http://schemas.microsoft.com/office/drawing/2014/main" id="{F58BACA4-09F8-4DB1-8B64-D9DBE49FAD79}"/>
              </a:ext>
            </a:extLst>
          </p:cNvPr>
          <p:cNvSpPr txBox="1">
            <a:spLocks/>
          </p:cNvSpPr>
          <p:nvPr userDrawn="1"/>
        </p:nvSpPr>
        <p:spPr>
          <a:xfrm>
            <a:off x="11387579"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olidFill>
                  <a:schemeClr val="tx1"/>
                </a:solidFill>
                <a:sym typeface="Symbol" panose="05050102010706020507" pitchFamily="18" charset="2"/>
              </a:rPr>
              <a:t> </a:t>
            </a:r>
            <a:fld id="{985D5D71-2132-4A0D-A457-AC01235D778F}" type="slidenum">
              <a:rPr lang="en-GB" sz="800" kern="1200" smtClean="0">
                <a:solidFill>
                  <a:schemeClr val="tx1"/>
                </a:solidFill>
                <a:latin typeface="Poppins Medium" panose="02000000000000000000" pitchFamily="2" charset="0"/>
                <a:ea typeface="+mn-ea"/>
                <a:cs typeface="Poppins Medium" panose="02000000000000000000" pitchFamily="2" charset="0"/>
              </a:rPr>
              <a:pPr/>
              <a:t>‹#›</a:t>
            </a:fld>
            <a:endParaRPr lang="en-GB" sz="800" kern="1200" dirty="0">
              <a:solidFill>
                <a:schemeClr val="tx1"/>
              </a:solidFill>
              <a:latin typeface="Poppins Medium" panose="02000000000000000000" pitchFamily="2" charset="0"/>
              <a:ea typeface="+mn-ea"/>
              <a:cs typeface="Poppins Medium" panose="02000000000000000000" pitchFamily="2" charset="0"/>
            </a:endParaRPr>
          </a:p>
        </p:txBody>
      </p:sp>
      <p:sp>
        <p:nvSpPr>
          <p:cNvPr id="6" name="Text Placeholder 9">
            <a:extLst>
              <a:ext uri="{FF2B5EF4-FFF2-40B4-BE49-F238E27FC236}">
                <a16:creationId xmlns:a16="http://schemas.microsoft.com/office/drawing/2014/main" id="{88F907B6-2DC0-45A8-9E87-3681881B74CC}"/>
              </a:ext>
            </a:extLst>
          </p:cNvPr>
          <p:cNvSpPr>
            <a:spLocks noGrp="1"/>
          </p:cNvSpPr>
          <p:nvPr>
            <p:ph type="body" sz="quarter" idx="12" hasCustomPrompt="1"/>
          </p:nvPr>
        </p:nvSpPr>
        <p:spPr>
          <a:xfrm>
            <a:off x="463808" y="903074"/>
            <a:ext cx="8870691" cy="729174"/>
          </a:xfrm>
        </p:spPr>
        <p:txBody>
          <a:bodyPr anchor="t"/>
          <a:lstStyle>
            <a:lvl1pPr marL="0" indent="0">
              <a:buNone/>
              <a:defRPr lang="en-GB" sz="1900" kern="1200" dirty="0">
                <a:solidFill>
                  <a:schemeClr val="tx1"/>
                </a:solidFill>
                <a:latin typeface="Poppins Medium" panose="02000000000000000000" pitchFamily="2" charset="0"/>
                <a:ea typeface="+mn-ea"/>
                <a:cs typeface="Poppins Medium"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marL="0" lvl="0" indent="0" algn="l" defTabSz="914400" rtl="0" eaLnBrk="1" latinLnBrk="0" hangingPunct="1">
              <a:lnSpc>
                <a:spcPct val="105000"/>
              </a:lnSpc>
              <a:spcBef>
                <a:spcPts val="1000"/>
              </a:spcBef>
              <a:buFont typeface="Wingdings 2" panose="05020102010507070707" pitchFamily="18" charset="2"/>
              <a:buNone/>
            </a:pPr>
            <a:r>
              <a:rPr lang="en-US" dirty="0"/>
              <a:t>Sub-heading</a:t>
            </a:r>
            <a:endParaRPr lang="en-GB" dirty="0"/>
          </a:p>
        </p:txBody>
      </p:sp>
    </p:spTree>
    <p:extLst>
      <p:ext uri="{BB962C8B-B14F-4D97-AF65-F5344CB8AC3E}">
        <p14:creationId xmlns:p14="http://schemas.microsoft.com/office/powerpoint/2010/main" val="37758384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or diagram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6B2ED4-0683-4869-85D3-EDA0DE8E01EB}"/>
              </a:ext>
            </a:extLst>
          </p:cNvPr>
          <p:cNvSpPr>
            <a:spLocks noGrp="1"/>
          </p:cNvSpPr>
          <p:nvPr>
            <p:ph type="title" hasCustomPrompt="1"/>
          </p:nvPr>
        </p:nvSpPr>
        <p:spPr>
          <a:xfrm>
            <a:off x="472917" y="-10613"/>
            <a:ext cx="8861583" cy="852602"/>
          </a:xfrm>
        </p:spPr>
        <p:txBody>
          <a:bodyPr/>
          <a:lstStyle>
            <a:lvl1pPr>
              <a:defRPr>
                <a:solidFill>
                  <a:schemeClr val="tx1"/>
                </a:solidFill>
              </a:defRPr>
            </a:lvl1pPr>
          </a:lstStyle>
          <a:p>
            <a:r>
              <a:rPr lang="en-GB" dirty="0"/>
              <a:t>Image or diagram slide</a:t>
            </a:r>
          </a:p>
        </p:txBody>
      </p:sp>
      <p:sp>
        <p:nvSpPr>
          <p:cNvPr id="5" name="Slide Number Placeholder 5">
            <a:extLst>
              <a:ext uri="{FF2B5EF4-FFF2-40B4-BE49-F238E27FC236}">
                <a16:creationId xmlns:a16="http://schemas.microsoft.com/office/drawing/2014/main" id="{3EE08843-0DDD-4D7C-9AA4-5F3B9B2EC431}"/>
              </a:ext>
            </a:extLst>
          </p:cNvPr>
          <p:cNvSpPr txBox="1">
            <a:spLocks/>
          </p:cNvSpPr>
          <p:nvPr userDrawn="1"/>
        </p:nvSpPr>
        <p:spPr>
          <a:xfrm>
            <a:off x="11387579"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ym typeface="Symbol" panose="05050102010706020507" pitchFamily="18" charset="2"/>
              </a:rPr>
              <a:t> </a:t>
            </a:r>
            <a:fld id="{985D5D71-2132-4A0D-A457-AC01235D778F}" type="slidenum">
              <a:rPr lang="en-GB" sz="800" kern="1200" smtClean="0">
                <a:solidFill>
                  <a:schemeClr val="accent5"/>
                </a:solidFill>
                <a:latin typeface="Poppins Medium" panose="02000000000000000000" pitchFamily="2" charset="0"/>
                <a:ea typeface="+mn-ea"/>
                <a:cs typeface="Poppins Medium" panose="02000000000000000000" pitchFamily="2" charset="0"/>
              </a:rPr>
              <a:pPr/>
              <a:t>‹#›</a:t>
            </a:fld>
            <a:endParaRPr lang="en-GB" sz="800" kern="1200" dirty="0">
              <a:solidFill>
                <a:schemeClr val="accent5"/>
              </a:solidFill>
              <a:latin typeface="Poppins Medium" panose="02000000000000000000" pitchFamily="2" charset="0"/>
              <a:ea typeface="+mn-ea"/>
              <a:cs typeface="Poppins Medium" panose="02000000000000000000" pitchFamily="2" charset="0"/>
            </a:endParaRPr>
          </a:p>
        </p:txBody>
      </p:sp>
      <p:sp>
        <p:nvSpPr>
          <p:cNvPr id="7" name="Text Placeholder 9">
            <a:extLst>
              <a:ext uri="{FF2B5EF4-FFF2-40B4-BE49-F238E27FC236}">
                <a16:creationId xmlns:a16="http://schemas.microsoft.com/office/drawing/2014/main" id="{E8233D60-2A02-47E4-8EEA-09C359F461A5}"/>
              </a:ext>
            </a:extLst>
          </p:cNvPr>
          <p:cNvSpPr>
            <a:spLocks noGrp="1"/>
          </p:cNvSpPr>
          <p:nvPr>
            <p:ph type="body" sz="quarter" idx="12" hasCustomPrompt="1"/>
          </p:nvPr>
        </p:nvSpPr>
        <p:spPr>
          <a:xfrm>
            <a:off x="472355" y="1146570"/>
            <a:ext cx="6814270" cy="831103"/>
          </a:xfrm>
        </p:spPr>
        <p:txBody>
          <a:bodyPr anchor="t"/>
          <a:lstStyle>
            <a:lvl1pPr marL="0" indent="0">
              <a:buNone/>
              <a:defRPr lang="en-GB" sz="2000" kern="1200" dirty="0">
                <a:solidFill>
                  <a:schemeClr val="tx1"/>
                </a:solidFill>
                <a:latin typeface="Poppins Medium" panose="02000000000000000000" pitchFamily="2" charset="0"/>
                <a:ea typeface="+mn-ea"/>
                <a:cs typeface="Poppins Medium"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Intro paragraph over 2 lines.</a:t>
            </a:r>
            <a:endParaRPr lang="en-GB" dirty="0"/>
          </a:p>
        </p:txBody>
      </p:sp>
    </p:spTree>
    <p:extLst>
      <p:ext uri="{BB962C8B-B14F-4D97-AF65-F5344CB8AC3E}">
        <p14:creationId xmlns:p14="http://schemas.microsoft.com/office/powerpoint/2010/main" val="6622407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ullets and imag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6B2ED4-0683-4869-85D3-EDA0DE8E01EB}"/>
              </a:ext>
            </a:extLst>
          </p:cNvPr>
          <p:cNvSpPr>
            <a:spLocks noGrp="1"/>
          </p:cNvSpPr>
          <p:nvPr>
            <p:ph type="title" hasCustomPrompt="1"/>
          </p:nvPr>
        </p:nvSpPr>
        <p:spPr>
          <a:xfrm>
            <a:off x="472918" y="-1"/>
            <a:ext cx="8149974" cy="831103"/>
          </a:xfrm>
        </p:spPr>
        <p:txBody>
          <a:bodyPr/>
          <a:lstStyle>
            <a:lvl1pPr>
              <a:defRPr>
                <a:solidFill>
                  <a:schemeClr val="tx1"/>
                </a:solidFill>
              </a:defRPr>
            </a:lvl1pPr>
          </a:lstStyle>
          <a:p>
            <a:r>
              <a:rPr lang="en-US" dirty="0"/>
              <a:t>Slide title</a:t>
            </a:r>
            <a:endParaRPr lang="en-GB" dirty="0"/>
          </a:p>
        </p:txBody>
      </p:sp>
      <p:sp>
        <p:nvSpPr>
          <p:cNvPr id="12" name="Picture Placeholder 11">
            <a:extLst>
              <a:ext uri="{FF2B5EF4-FFF2-40B4-BE49-F238E27FC236}">
                <a16:creationId xmlns:a16="http://schemas.microsoft.com/office/drawing/2014/main" id="{297C47CA-0BAF-4D64-A172-0508D960F002}"/>
              </a:ext>
            </a:extLst>
          </p:cNvPr>
          <p:cNvSpPr>
            <a:spLocks noGrp="1"/>
          </p:cNvSpPr>
          <p:nvPr>
            <p:ph type="pic" sz="quarter" idx="13" hasCustomPrompt="1"/>
          </p:nvPr>
        </p:nvSpPr>
        <p:spPr>
          <a:xfrm>
            <a:off x="6284686" y="1168543"/>
            <a:ext cx="5907314" cy="5133591"/>
          </a:xfrm>
          <a:solidFill>
            <a:schemeClr val="bg1">
              <a:lumMod val="95000"/>
            </a:schemeClr>
          </a:solidFill>
        </p:spPr>
        <p:txBody>
          <a:bodyPr anchor="ctr"/>
          <a:lstStyle>
            <a:lvl1pPr algn="ctr">
              <a:defRPr>
                <a:solidFill>
                  <a:schemeClr val="bg1">
                    <a:lumMod val="65000"/>
                  </a:schemeClr>
                </a:solidFill>
              </a:defRPr>
            </a:lvl1pPr>
            <a:lvl7pPr>
              <a:defRPr lang="en-GB" sz="1500" kern="1200" dirty="0">
                <a:solidFill>
                  <a:schemeClr val="tx1"/>
                </a:solidFill>
                <a:latin typeface="Poppins Light" panose="02000000000000000000" pitchFamily="2" charset="0"/>
                <a:ea typeface="+mn-ea"/>
                <a:cs typeface="Poppins Light" panose="02000000000000000000" pitchFamily="2" charset="0"/>
              </a:defRPr>
            </a:lvl7pPr>
            <a:lvl9pPr marL="3657600" indent="0">
              <a:buNone/>
              <a:defRPr>
                <a:solidFill>
                  <a:schemeClr val="bg1">
                    <a:lumMod val="65000"/>
                  </a:schemeClr>
                </a:solidFill>
              </a:defRPr>
            </a:lvl9pPr>
          </a:lstStyle>
          <a:p>
            <a:pPr marL="87313" lvl="6" indent="0" algn="ctr" defTabSz="914400" rtl="0" eaLnBrk="1" latinLnBrk="0" hangingPunct="1">
              <a:lnSpc>
                <a:spcPct val="90000"/>
              </a:lnSpc>
              <a:spcBef>
                <a:spcPts val="500"/>
              </a:spcBef>
              <a:buFont typeface="Arial" panose="020B0604020202020204" pitchFamily="34" charset="0"/>
              <a:buNone/>
            </a:pPr>
            <a:r>
              <a:rPr lang="en-GB" dirty="0"/>
              <a:t>Image – place graphic element on top in normal view</a:t>
            </a:r>
          </a:p>
        </p:txBody>
      </p:sp>
      <p:sp>
        <p:nvSpPr>
          <p:cNvPr id="19" name="Picture Placeholder 15">
            <a:extLst>
              <a:ext uri="{FF2B5EF4-FFF2-40B4-BE49-F238E27FC236}">
                <a16:creationId xmlns:a16="http://schemas.microsoft.com/office/drawing/2014/main" id="{D589E8C2-4ED9-4606-9911-36961729BACC}"/>
              </a:ext>
            </a:extLst>
          </p:cNvPr>
          <p:cNvSpPr>
            <a:spLocks noGrp="1"/>
          </p:cNvSpPr>
          <p:nvPr>
            <p:ph type="pic" sz="quarter" idx="14" hasCustomPrompt="1"/>
          </p:nvPr>
        </p:nvSpPr>
        <p:spPr>
          <a:xfrm>
            <a:off x="8483600" y="2755900"/>
            <a:ext cx="3708400" cy="4097722"/>
          </a:xfrm>
          <a:blipFill>
            <a:blip r:embed="rId2" cstate="print">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a:lvl1pPr>
          </a:lstStyle>
          <a:p>
            <a:r>
              <a:rPr lang="en-GB" dirty="0"/>
              <a:t>       </a:t>
            </a:r>
          </a:p>
        </p:txBody>
      </p:sp>
      <p:sp>
        <p:nvSpPr>
          <p:cNvPr id="4" name="Text Placeholder 3">
            <a:extLst>
              <a:ext uri="{FF2B5EF4-FFF2-40B4-BE49-F238E27FC236}">
                <a16:creationId xmlns:a16="http://schemas.microsoft.com/office/drawing/2014/main" id="{1B21CECE-A706-4B99-9E3A-DF8A4EE51B77}"/>
              </a:ext>
            </a:extLst>
          </p:cNvPr>
          <p:cNvSpPr>
            <a:spLocks noGrp="1"/>
          </p:cNvSpPr>
          <p:nvPr>
            <p:ph type="body" sz="quarter" idx="19"/>
          </p:nvPr>
        </p:nvSpPr>
        <p:spPr>
          <a:xfrm>
            <a:off x="472354" y="1841500"/>
            <a:ext cx="5001345" cy="1520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3">
            <a:extLst>
              <a:ext uri="{FF2B5EF4-FFF2-40B4-BE49-F238E27FC236}">
                <a16:creationId xmlns:a16="http://schemas.microsoft.com/office/drawing/2014/main" id="{4E52991B-1129-4F2C-9F91-7FD501ABC57B}"/>
              </a:ext>
            </a:extLst>
          </p:cNvPr>
          <p:cNvSpPr>
            <a:spLocks noGrp="1"/>
          </p:cNvSpPr>
          <p:nvPr>
            <p:ph type="body" sz="quarter" idx="20"/>
          </p:nvPr>
        </p:nvSpPr>
        <p:spPr>
          <a:xfrm>
            <a:off x="472354" y="3362325"/>
            <a:ext cx="5001345" cy="1520825"/>
          </a:xfrm>
        </p:spPr>
        <p:txBody>
          <a:bodyPr/>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3">
            <a:extLst>
              <a:ext uri="{FF2B5EF4-FFF2-40B4-BE49-F238E27FC236}">
                <a16:creationId xmlns:a16="http://schemas.microsoft.com/office/drawing/2014/main" id="{A24B931C-587D-4925-8929-7C063609966C}"/>
              </a:ext>
            </a:extLst>
          </p:cNvPr>
          <p:cNvSpPr>
            <a:spLocks noGrp="1"/>
          </p:cNvSpPr>
          <p:nvPr>
            <p:ph type="body" sz="quarter" idx="21"/>
          </p:nvPr>
        </p:nvSpPr>
        <p:spPr>
          <a:xfrm>
            <a:off x="472354" y="4883150"/>
            <a:ext cx="5001345" cy="1520825"/>
          </a:xfrm>
        </p:spPr>
        <p:txBody>
          <a:bodyPr/>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9">
            <a:extLst>
              <a:ext uri="{FF2B5EF4-FFF2-40B4-BE49-F238E27FC236}">
                <a16:creationId xmlns:a16="http://schemas.microsoft.com/office/drawing/2014/main" id="{BB9F8E68-1381-4B6A-A33D-6E9B3770C6CC}"/>
              </a:ext>
            </a:extLst>
          </p:cNvPr>
          <p:cNvSpPr>
            <a:spLocks noGrp="1"/>
          </p:cNvSpPr>
          <p:nvPr>
            <p:ph type="body" sz="quarter" idx="12" hasCustomPrompt="1"/>
          </p:nvPr>
        </p:nvSpPr>
        <p:spPr>
          <a:xfrm>
            <a:off x="463809" y="903074"/>
            <a:ext cx="8159082" cy="729174"/>
          </a:xfrm>
        </p:spPr>
        <p:txBody>
          <a:bodyPr anchor="t"/>
          <a:lstStyle>
            <a:lvl1pPr marL="0" indent="0">
              <a:buNone/>
              <a:defRPr lang="en-GB" sz="2000" kern="1200" dirty="0">
                <a:solidFill>
                  <a:schemeClr val="tx1"/>
                </a:solidFill>
                <a:latin typeface="Poppins Medium" panose="02000000000000000000" pitchFamily="2" charset="0"/>
                <a:ea typeface="+mn-ea"/>
                <a:cs typeface="Poppins Medium"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marL="0" lvl="0" indent="0" algn="l" defTabSz="914400" rtl="0" eaLnBrk="1" latinLnBrk="0" hangingPunct="1">
              <a:lnSpc>
                <a:spcPct val="105000"/>
              </a:lnSpc>
              <a:spcBef>
                <a:spcPts val="1000"/>
              </a:spcBef>
              <a:buFont typeface="Wingdings 2" panose="05020102010507070707" pitchFamily="18" charset="2"/>
              <a:buNone/>
            </a:pPr>
            <a:r>
              <a:rPr lang="en-US" dirty="0"/>
              <a:t>Sub-heading</a:t>
            </a:r>
            <a:endParaRPr lang="en-GB" dirty="0"/>
          </a:p>
        </p:txBody>
      </p:sp>
      <p:sp>
        <p:nvSpPr>
          <p:cNvPr id="11" name="Slide Number Placeholder 5">
            <a:extLst>
              <a:ext uri="{FF2B5EF4-FFF2-40B4-BE49-F238E27FC236}">
                <a16:creationId xmlns:a16="http://schemas.microsoft.com/office/drawing/2014/main" id="{E556B91F-7450-4889-B565-59EBECF47209}"/>
              </a:ext>
            </a:extLst>
          </p:cNvPr>
          <p:cNvSpPr txBox="1">
            <a:spLocks/>
          </p:cNvSpPr>
          <p:nvPr userDrawn="1"/>
        </p:nvSpPr>
        <p:spPr>
          <a:xfrm>
            <a:off x="11387579"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ym typeface="Symbol" panose="05050102010706020507" pitchFamily="18" charset="2"/>
              </a:rPr>
              <a:t> </a:t>
            </a:r>
            <a:fld id="{985D5D71-2132-4A0D-A457-AC01235D778F}" type="slidenum">
              <a:rPr lang="en-GB" sz="800" kern="1200" smtClean="0">
                <a:solidFill>
                  <a:schemeClr val="accent5"/>
                </a:solidFill>
                <a:latin typeface="Poppins Medium" panose="02000000000000000000" pitchFamily="2" charset="0"/>
                <a:ea typeface="+mn-ea"/>
                <a:cs typeface="Poppins Medium" panose="02000000000000000000" pitchFamily="2" charset="0"/>
              </a:rPr>
              <a:pPr/>
              <a:t>‹#›</a:t>
            </a:fld>
            <a:endParaRPr lang="en-GB" sz="800" kern="1200" dirty="0">
              <a:solidFill>
                <a:schemeClr val="accent5"/>
              </a:solidFill>
              <a:latin typeface="Poppins Medium" panose="02000000000000000000" pitchFamily="2" charset="0"/>
              <a:ea typeface="+mn-ea"/>
              <a:cs typeface="Poppins Medium" panose="02000000000000000000" pitchFamily="2" charset="0"/>
            </a:endParaRPr>
          </a:p>
        </p:txBody>
      </p:sp>
    </p:spTree>
    <p:extLst>
      <p:ext uri="{BB962C8B-B14F-4D97-AF65-F5344CB8AC3E}">
        <p14:creationId xmlns:p14="http://schemas.microsoft.com/office/powerpoint/2010/main" val="27765488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py and image slid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40A0CD3-A136-4797-8325-FC673F62A206}"/>
              </a:ext>
            </a:extLst>
          </p:cNvPr>
          <p:cNvSpPr>
            <a:spLocks noGrp="1"/>
          </p:cNvSpPr>
          <p:nvPr>
            <p:ph type="pic" sz="quarter" idx="14" hasCustomPrompt="1"/>
          </p:nvPr>
        </p:nvSpPr>
        <p:spPr>
          <a:xfrm>
            <a:off x="9030824" y="207772"/>
            <a:ext cx="2876400" cy="1033200"/>
          </a:xfrm>
          <a:blipFill>
            <a:blip r:embed="rId2" cstate="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GB" dirty="0"/>
              <a:t> </a:t>
            </a:r>
          </a:p>
        </p:txBody>
      </p:sp>
      <p:sp>
        <p:nvSpPr>
          <p:cNvPr id="2" name="Title 1">
            <a:extLst>
              <a:ext uri="{FF2B5EF4-FFF2-40B4-BE49-F238E27FC236}">
                <a16:creationId xmlns:a16="http://schemas.microsoft.com/office/drawing/2014/main" id="{086B2ED4-0683-4869-85D3-EDA0DE8E01EB}"/>
              </a:ext>
            </a:extLst>
          </p:cNvPr>
          <p:cNvSpPr>
            <a:spLocks noGrp="1"/>
          </p:cNvSpPr>
          <p:nvPr>
            <p:ph type="title" hasCustomPrompt="1"/>
          </p:nvPr>
        </p:nvSpPr>
        <p:spPr>
          <a:xfrm>
            <a:off x="472917" y="7257"/>
            <a:ext cx="8133281" cy="831103"/>
          </a:xfrm>
        </p:spPr>
        <p:txBody>
          <a:bodyPr/>
          <a:lstStyle>
            <a:lvl1pPr>
              <a:defRPr>
                <a:solidFill>
                  <a:schemeClr val="tx1"/>
                </a:solidFill>
              </a:defRPr>
            </a:lvl1pPr>
          </a:lstStyle>
          <a:p>
            <a:r>
              <a:rPr lang="en-US" dirty="0"/>
              <a:t>Copy and image slide</a:t>
            </a:r>
            <a:endParaRPr lang="en-GB" dirty="0"/>
          </a:p>
        </p:txBody>
      </p:sp>
      <p:sp>
        <p:nvSpPr>
          <p:cNvPr id="8" name="Slide Number Placeholder 5">
            <a:extLst>
              <a:ext uri="{FF2B5EF4-FFF2-40B4-BE49-F238E27FC236}">
                <a16:creationId xmlns:a16="http://schemas.microsoft.com/office/drawing/2014/main" id="{4AD3DA69-35E8-4C04-B899-38E94CAC18CF}"/>
              </a:ext>
            </a:extLst>
          </p:cNvPr>
          <p:cNvSpPr txBox="1">
            <a:spLocks/>
          </p:cNvSpPr>
          <p:nvPr userDrawn="1"/>
        </p:nvSpPr>
        <p:spPr>
          <a:xfrm>
            <a:off x="11387579"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
        <p:nvSpPr>
          <p:cNvPr id="6" name="Picture Placeholder 5">
            <a:extLst>
              <a:ext uri="{FF2B5EF4-FFF2-40B4-BE49-F238E27FC236}">
                <a16:creationId xmlns:a16="http://schemas.microsoft.com/office/drawing/2014/main" id="{4F66D672-AE29-4DA5-828F-732EA18A4618}"/>
              </a:ext>
            </a:extLst>
          </p:cNvPr>
          <p:cNvSpPr>
            <a:spLocks noGrp="1"/>
          </p:cNvSpPr>
          <p:nvPr>
            <p:ph type="pic" sz="quarter" idx="12" hasCustomPrompt="1"/>
          </p:nvPr>
        </p:nvSpPr>
        <p:spPr>
          <a:xfrm>
            <a:off x="5437576" y="-1074056"/>
            <a:ext cx="8133281" cy="8636000"/>
          </a:xfrm>
          <a:prstGeom prst="ellipse">
            <a:avLst/>
          </a:prstGeom>
          <a:solidFill>
            <a:schemeClr val="bg1">
              <a:lumMod val="95000"/>
            </a:schemeClr>
          </a:solidFill>
        </p:spPr>
        <p:txBody>
          <a:bodyPr tIns="1440000" anchor="t"/>
          <a:lstStyle>
            <a:lvl1pPr algn="ctr">
              <a:defRPr/>
            </a:lvl1pPr>
            <a:lvl7pPr marL="87313" indent="0" algn="ctr">
              <a:buFont typeface="Arial" panose="020B0604020202020204" pitchFamily="34" charset="0"/>
              <a:buNone/>
              <a:defRPr lang="en-GB" sz="1500" kern="1200" dirty="0">
                <a:solidFill>
                  <a:schemeClr val="tx1"/>
                </a:solidFill>
                <a:latin typeface="Poppins Light" panose="02000000000000000000" pitchFamily="2" charset="0"/>
                <a:ea typeface="+mn-ea"/>
                <a:cs typeface="Poppins Light" panose="02000000000000000000" pitchFamily="2" charset="0"/>
              </a:defRPr>
            </a:lvl7pPr>
          </a:lstStyle>
          <a:p>
            <a:pPr lvl="6"/>
            <a:r>
              <a:rPr lang="en-GB" dirty="0"/>
              <a:t>Add image by clicking the icon.</a:t>
            </a:r>
            <a:br>
              <a:rPr lang="en-GB" dirty="0"/>
            </a:br>
            <a:r>
              <a:rPr lang="en-GB" dirty="0"/>
              <a:t>Place logo on top in normal view.</a:t>
            </a:r>
          </a:p>
        </p:txBody>
      </p:sp>
      <p:sp>
        <p:nvSpPr>
          <p:cNvPr id="13" name="Text Placeholder 9">
            <a:extLst>
              <a:ext uri="{FF2B5EF4-FFF2-40B4-BE49-F238E27FC236}">
                <a16:creationId xmlns:a16="http://schemas.microsoft.com/office/drawing/2014/main" id="{D2DBCABD-4EE2-4C1D-9C11-6C111D1BB3F1}"/>
              </a:ext>
            </a:extLst>
          </p:cNvPr>
          <p:cNvSpPr>
            <a:spLocks noGrp="1"/>
          </p:cNvSpPr>
          <p:nvPr>
            <p:ph type="body" sz="quarter" idx="13" hasCustomPrompt="1"/>
          </p:nvPr>
        </p:nvSpPr>
        <p:spPr>
          <a:xfrm>
            <a:off x="472354" y="1804874"/>
            <a:ext cx="4818235" cy="947738"/>
          </a:xfrm>
        </p:spPr>
        <p:txBody>
          <a:bodyPr anchor="t"/>
          <a:lstStyle>
            <a:lvl1pPr marL="0" indent="0">
              <a:buNone/>
              <a:defRPr lang="en-GB" sz="2000" kern="1200" dirty="0">
                <a:solidFill>
                  <a:schemeClr val="tx1"/>
                </a:solidFill>
                <a:latin typeface="Poppins Medium" panose="02000000000000000000" pitchFamily="2" charset="0"/>
                <a:ea typeface="+mn-ea"/>
                <a:cs typeface="Poppins Medium"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Intro paragraph over 2 lines. Lorem ipsum dolor sit </a:t>
            </a:r>
            <a:r>
              <a:rPr lang="en-US" dirty="0" err="1"/>
              <a:t>amet</a:t>
            </a:r>
            <a:r>
              <a:rPr lang="en-US" dirty="0"/>
              <a:t>, do </a:t>
            </a:r>
            <a:r>
              <a:rPr lang="en-US" dirty="0" err="1"/>
              <a:t>eiusmod</a:t>
            </a:r>
            <a:r>
              <a:rPr lang="en-US" dirty="0"/>
              <a:t> </a:t>
            </a:r>
            <a:r>
              <a:rPr lang="en-US" dirty="0" err="1"/>
              <a:t>ut</a:t>
            </a:r>
            <a:r>
              <a:rPr lang="en-US" dirty="0"/>
              <a:t> </a:t>
            </a:r>
            <a:r>
              <a:rPr lang="en-US" dirty="0" err="1"/>
              <a:t>labore</a:t>
            </a:r>
            <a:r>
              <a:rPr lang="en-US" dirty="0"/>
              <a:t> et dolore magna.</a:t>
            </a:r>
            <a:endParaRPr lang="en-GB" dirty="0"/>
          </a:p>
        </p:txBody>
      </p:sp>
      <p:sp>
        <p:nvSpPr>
          <p:cNvPr id="14" name="Text Placeholder 9">
            <a:extLst>
              <a:ext uri="{FF2B5EF4-FFF2-40B4-BE49-F238E27FC236}">
                <a16:creationId xmlns:a16="http://schemas.microsoft.com/office/drawing/2014/main" id="{19E3710F-7744-4776-A0C0-BEF8BACA10C4}"/>
              </a:ext>
            </a:extLst>
          </p:cNvPr>
          <p:cNvSpPr>
            <a:spLocks noGrp="1"/>
          </p:cNvSpPr>
          <p:nvPr>
            <p:ph type="body" sz="quarter" idx="16" hasCustomPrompt="1"/>
          </p:nvPr>
        </p:nvSpPr>
        <p:spPr>
          <a:xfrm>
            <a:off x="472355" y="2955130"/>
            <a:ext cx="4818234" cy="3386675"/>
          </a:xfrm>
        </p:spPr>
        <p:txBody>
          <a:bodyPr anchor="t"/>
          <a:lstStyle>
            <a:lvl1pPr marL="0" indent="0">
              <a:buNone/>
              <a:defRPr lang="en-GB" sz="1600" kern="1200" dirty="0">
                <a:solidFill>
                  <a:schemeClr val="tx1"/>
                </a:solidFill>
                <a:latin typeface="Poppins Light" panose="02000000000000000000" pitchFamily="2" charset="0"/>
                <a:ea typeface="+mn-ea"/>
                <a:cs typeface="Poppins Light"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non </a:t>
            </a:r>
            <a:r>
              <a:rPr lang="en-US" dirty="0" err="1"/>
              <a:t>proident</a:t>
            </a:r>
            <a:r>
              <a:rPr lang="en-US" dirty="0"/>
              <a:t>, sunt in culpa qui official.</a:t>
            </a:r>
            <a:endParaRPr lang="en-GB" dirty="0"/>
          </a:p>
        </p:txBody>
      </p:sp>
      <p:sp>
        <p:nvSpPr>
          <p:cNvPr id="11" name="Text Placeholder 9">
            <a:extLst>
              <a:ext uri="{FF2B5EF4-FFF2-40B4-BE49-F238E27FC236}">
                <a16:creationId xmlns:a16="http://schemas.microsoft.com/office/drawing/2014/main" id="{C0151E5D-868A-4510-8DF6-6FF090F0492E}"/>
              </a:ext>
            </a:extLst>
          </p:cNvPr>
          <p:cNvSpPr>
            <a:spLocks noGrp="1"/>
          </p:cNvSpPr>
          <p:nvPr>
            <p:ph type="body" sz="quarter" idx="17" hasCustomPrompt="1"/>
          </p:nvPr>
        </p:nvSpPr>
        <p:spPr>
          <a:xfrm>
            <a:off x="463808" y="903074"/>
            <a:ext cx="5330241" cy="729174"/>
          </a:xfrm>
        </p:spPr>
        <p:txBody>
          <a:bodyPr anchor="t"/>
          <a:lstStyle>
            <a:lvl1pPr marL="0" indent="0">
              <a:buNone/>
              <a:defRPr lang="en-GB" sz="2000" kern="1200" dirty="0">
                <a:solidFill>
                  <a:schemeClr val="tx1"/>
                </a:solidFill>
                <a:latin typeface="Poppins Medium" panose="02000000000000000000" pitchFamily="2" charset="0"/>
                <a:ea typeface="+mn-ea"/>
                <a:cs typeface="Poppins Medium"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marL="0" lvl="0" indent="0" algn="l" defTabSz="914400" rtl="0" eaLnBrk="1" latinLnBrk="0" hangingPunct="1">
              <a:lnSpc>
                <a:spcPct val="105000"/>
              </a:lnSpc>
              <a:spcBef>
                <a:spcPts val="1000"/>
              </a:spcBef>
              <a:buFont typeface="Wingdings 2" panose="05020102010507070707" pitchFamily="18" charset="2"/>
              <a:buNone/>
            </a:pPr>
            <a:r>
              <a:rPr lang="en-US" dirty="0"/>
              <a:t>Sub-heading</a:t>
            </a:r>
            <a:endParaRPr lang="en-GB" dirty="0"/>
          </a:p>
        </p:txBody>
      </p:sp>
    </p:spTree>
    <p:extLst>
      <p:ext uri="{BB962C8B-B14F-4D97-AF65-F5344CB8AC3E}">
        <p14:creationId xmlns:p14="http://schemas.microsoft.com/office/powerpoint/2010/main" val="35434848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py and 2 images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46686E92-E029-4CF5-B509-D090E74C9AF8}"/>
              </a:ext>
              <a:ext uri="{C183D7F6-B498-43B3-948B-1728B52AA6E4}">
                <adec:decorative xmlns:adec="http://schemas.microsoft.com/office/drawing/2017/decorative" val="1"/>
              </a:ext>
            </a:extLst>
          </p:cNvPr>
          <p:cNvSpPr>
            <a:spLocks noGrp="1"/>
          </p:cNvSpPr>
          <p:nvPr>
            <p:ph type="pic" sz="quarter" idx="12" hasCustomPrompt="1"/>
          </p:nvPr>
        </p:nvSpPr>
        <p:spPr>
          <a:xfrm rot="10800000" flipH="1" flipV="1">
            <a:off x="6096000" y="1838323"/>
            <a:ext cx="5629274" cy="2187576"/>
          </a:xfrm>
          <a:prstGeom prst="rect">
            <a:avLst/>
          </a:prstGeom>
          <a:solidFill>
            <a:schemeClr val="bg1">
              <a:lumMod val="95000"/>
            </a:schemeClr>
          </a:solidFill>
        </p:spPr>
        <p:txBody>
          <a:bodyPr vert="horz" anchor="ctr" anchorCtr="0"/>
          <a:lstStyle>
            <a:lvl1pPr marL="0" indent="0" algn="ctr">
              <a:buNone/>
              <a:defRPr lang="en-GB" sz="1500" kern="1200" dirty="0">
                <a:solidFill>
                  <a:schemeClr val="tx1"/>
                </a:solidFill>
                <a:latin typeface="Poppins Light" panose="02000000000000000000" pitchFamily="2" charset="0"/>
                <a:ea typeface="+mn-ea"/>
                <a:cs typeface="Poppins Light" panose="02000000000000000000" pitchFamily="2" charset="0"/>
              </a:defRPr>
            </a:lvl1pPr>
          </a:lstStyle>
          <a:p>
            <a:r>
              <a:rPr lang="en-GB" dirty="0"/>
              <a:t>  Add image and place white rounded shape</a:t>
            </a:r>
            <a:br>
              <a:rPr lang="en-GB" dirty="0"/>
            </a:br>
            <a:r>
              <a:rPr lang="en-GB" dirty="0"/>
              <a:t>on top of edge.</a:t>
            </a:r>
          </a:p>
        </p:txBody>
      </p:sp>
      <p:sp>
        <p:nvSpPr>
          <p:cNvPr id="13" name="Picture Placeholder 4">
            <a:extLst>
              <a:ext uri="{FF2B5EF4-FFF2-40B4-BE49-F238E27FC236}">
                <a16:creationId xmlns:a16="http://schemas.microsoft.com/office/drawing/2014/main" id="{2331483D-6A00-4C60-A9B9-51DB6BD9306B}"/>
              </a:ext>
              <a:ext uri="{C183D7F6-B498-43B3-948B-1728B52AA6E4}">
                <adec:decorative xmlns:adec="http://schemas.microsoft.com/office/drawing/2017/decorative" val="1"/>
              </a:ext>
            </a:extLst>
          </p:cNvPr>
          <p:cNvSpPr>
            <a:spLocks noGrp="1"/>
          </p:cNvSpPr>
          <p:nvPr>
            <p:ph type="pic" sz="quarter" idx="13" hasCustomPrompt="1"/>
          </p:nvPr>
        </p:nvSpPr>
        <p:spPr>
          <a:xfrm rot="10800000" flipH="1" flipV="1">
            <a:off x="6096000" y="4187823"/>
            <a:ext cx="5629274" cy="2187576"/>
          </a:xfrm>
          <a:prstGeom prst="rect">
            <a:avLst/>
          </a:prstGeom>
          <a:solidFill>
            <a:schemeClr val="bg1">
              <a:lumMod val="95000"/>
            </a:schemeClr>
          </a:solidFill>
        </p:spPr>
        <p:txBody>
          <a:bodyPr vert="horz" anchor="ctr" anchorCtr="0"/>
          <a:lstStyle>
            <a:lvl1pPr marL="0" indent="0" algn="ctr">
              <a:buNone/>
              <a:defRPr lang="en-GB" sz="1500" kern="1200" dirty="0">
                <a:solidFill>
                  <a:schemeClr val="tx1"/>
                </a:solidFill>
                <a:latin typeface="Poppins Light" panose="02000000000000000000" pitchFamily="2" charset="0"/>
                <a:ea typeface="+mn-ea"/>
                <a:cs typeface="Poppins Light" panose="02000000000000000000" pitchFamily="2" charset="0"/>
              </a:defRPr>
            </a:lvl1pPr>
          </a:lstStyle>
          <a:p>
            <a:r>
              <a:rPr lang="en-GB" dirty="0"/>
              <a:t> Add image and place white rounded shape</a:t>
            </a:r>
            <a:br>
              <a:rPr lang="en-GB" dirty="0"/>
            </a:br>
            <a:r>
              <a:rPr lang="en-GB" dirty="0"/>
              <a:t>on top of edge. </a:t>
            </a:r>
          </a:p>
        </p:txBody>
      </p:sp>
      <p:sp>
        <p:nvSpPr>
          <p:cNvPr id="17" name="Title 1">
            <a:extLst>
              <a:ext uri="{FF2B5EF4-FFF2-40B4-BE49-F238E27FC236}">
                <a16:creationId xmlns:a16="http://schemas.microsoft.com/office/drawing/2014/main" id="{4A569ACC-D045-4E3B-B3A9-898EA9E59387}"/>
              </a:ext>
            </a:extLst>
          </p:cNvPr>
          <p:cNvSpPr>
            <a:spLocks noGrp="1"/>
          </p:cNvSpPr>
          <p:nvPr>
            <p:ph type="title" hasCustomPrompt="1"/>
          </p:nvPr>
        </p:nvSpPr>
        <p:spPr>
          <a:xfrm>
            <a:off x="472917" y="7257"/>
            <a:ext cx="8130309" cy="831103"/>
          </a:xfrm>
        </p:spPr>
        <p:txBody>
          <a:bodyPr/>
          <a:lstStyle>
            <a:lvl1pPr>
              <a:defRPr>
                <a:solidFill>
                  <a:schemeClr val="tx1"/>
                </a:solidFill>
              </a:defRPr>
            </a:lvl1pPr>
          </a:lstStyle>
          <a:p>
            <a:r>
              <a:rPr lang="en-US" dirty="0"/>
              <a:t>Copy and 2 images slide</a:t>
            </a:r>
            <a:endParaRPr lang="en-GB" dirty="0"/>
          </a:p>
        </p:txBody>
      </p:sp>
      <p:sp>
        <p:nvSpPr>
          <p:cNvPr id="19" name="Text Placeholder 9">
            <a:extLst>
              <a:ext uri="{FF2B5EF4-FFF2-40B4-BE49-F238E27FC236}">
                <a16:creationId xmlns:a16="http://schemas.microsoft.com/office/drawing/2014/main" id="{341977D1-C8E0-4ADD-B5B2-46465E4F17A6}"/>
              </a:ext>
            </a:extLst>
          </p:cNvPr>
          <p:cNvSpPr>
            <a:spLocks noGrp="1"/>
          </p:cNvSpPr>
          <p:nvPr>
            <p:ph type="body" sz="quarter" idx="16" hasCustomPrompt="1"/>
          </p:nvPr>
        </p:nvSpPr>
        <p:spPr>
          <a:xfrm>
            <a:off x="472354" y="1804874"/>
            <a:ext cx="4818235" cy="947738"/>
          </a:xfrm>
        </p:spPr>
        <p:txBody>
          <a:bodyPr anchor="t"/>
          <a:lstStyle>
            <a:lvl1pPr marL="0" indent="0">
              <a:buNone/>
              <a:defRPr lang="en-GB" sz="2000" kern="1200" dirty="0">
                <a:solidFill>
                  <a:schemeClr val="tx1"/>
                </a:solidFill>
                <a:latin typeface="Poppins Medium" panose="02000000000000000000" pitchFamily="2" charset="0"/>
                <a:ea typeface="+mn-ea"/>
                <a:cs typeface="Poppins Medium"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Intro paragraph over 2 lines. Lorem ipsum dolor sit </a:t>
            </a:r>
            <a:r>
              <a:rPr lang="en-US" dirty="0" err="1"/>
              <a:t>amet</a:t>
            </a:r>
            <a:r>
              <a:rPr lang="en-US" dirty="0"/>
              <a:t>…</a:t>
            </a:r>
            <a:endParaRPr lang="en-GB" dirty="0"/>
          </a:p>
        </p:txBody>
      </p:sp>
      <p:sp>
        <p:nvSpPr>
          <p:cNvPr id="20" name="Text Placeholder 9">
            <a:extLst>
              <a:ext uri="{FF2B5EF4-FFF2-40B4-BE49-F238E27FC236}">
                <a16:creationId xmlns:a16="http://schemas.microsoft.com/office/drawing/2014/main" id="{9C8EDB14-4B21-4BF4-A5F3-AECB9A20D7EA}"/>
              </a:ext>
            </a:extLst>
          </p:cNvPr>
          <p:cNvSpPr>
            <a:spLocks noGrp="1"/>
          </p:cNvSpPr>
          <p:nvPr>
            <p:ph type="body" sz="quarter" idx="17" hasCustomPrompt="1"/>
          </p:nvPr>
        </p:nvSpPr>
        <p:spPr>
          <a:xfrm>
            <a:off x="472355" y="2876490"/>
            <a:ext cx="4818234" cy="3498910"/>
          </a:xfrm>
        </p:spPr>
        <p:txBody>
          <a:bodyPr anchor="t"/>
          <a:lstStyle>
            <a:lvl1pPr marL="0" indent="0">
              <a:buNone/>
              <a:defRPr lang="en-GB" sz="1600" kern="1200" dirty="0">
                <a:solidFill>
                  <a:schemeClr val="tx1"/>
                </a:solidFill>
                <a:latin typeface="Poppins Light" panose="02000000000000000000" pitchFamily="2" charset="0"/>
                <a:ea typeface="+mn-ea"/>
                <a:cs typeface="Poppins Light"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non </a:t>
            </a:r>
            <a:r>
              <a:rPr lang="en-US" dirty="0" err="1"/>
              <a:t>proident</a:t>
            </a:r>
            <a:r>
              <a:rPr lang="en-US" dirty="0"/>
              <a:t>, sunt in culpa qui official.</a:t>
            </a:r>
            <a:endParaRPr lang="en-GB" dirty="0"/>
          </a:p>
        </p:txBody>
      </p:sp>
      <p:sp>
        <p:nvSpPr>
          <p:cNvPr id="6" name="Picture Placeholder 5">
            <a:extLst>
              <a:ext uri="{FF2B5EF4-FFF2-40B4-BE49-F238E27FC236}">
                <a16:creationId xmlns:a16="http://schemas.microsoft.com/office/drawing/2014/main" id="{DA3D10A2-2B2B-4098-8C05-991F1BD92CEA}"/>
              </a:ext>
            </a:extLst>
          </p:cNvPr>
          <p:cNvSpPr>
            <a:spLocks noGrp="1"/>
          </p:cNvSpPr>
          <p:nvPr>
            <p:ph type="pic" sz="quarter" idx="18" hasCustomPrompt="1"/>
          </p:nvPr>
        </p:nvSpPr>
        <p:spPr>
          <a:xfrm>
            <a:off x="11014738" y="3317803"/>
            <a:ext cx="830189" cy="830189"/>
          </a:xfrm>
          <a:prstGeom prst="blockArc">
            <a:avLst>
              <a:gd name="adj1" fmla="val 21599999"/>
              <a:gd name="adj2" fmla="val 5574993"/>
              <a:gd name="adj3" fmla="val 14903"/>
            </a:avLst>
          </a:prstGeom>
          <a:solidFill>
            <a:schemeClr val="bg1"/>
          </a:solidFill>
        </p:spPr>
        <p:txBody>
          <a:bodyPr/>
          <a:lstStyle>
            <a:lvl1pPr marL="0" indent="0">
              <a:buNone/>
              <a:defRPr/>
            </a:lvl1pPr>
          </a:lstStyle>
          <a:p>
            <a:r>
              <a:rPr lang="en-GB" dirty="0"/>
              <a:t>  </a:t>
            </a:r>
          </a:p>
        </p:txBody>
      </p:sp>
      <p:sp>
        <p:nvSpPr>
          <p:cNvPr id="14" name="Picture Placeholder 5">
            <a:extLst>
              <a:ext uri="{FF2B5EF4-FFF2-40B4-BE49-F238E27FC236}">
                <a16:creationId xmlns:a16="http://schemas.microsoft.com/office/drawing/2014/main" id="{73EB3699-41C5-475C-94A8-557BA96C8E61}"/>
              </a:ext>
            </a:extLst>
          </p:cNvPr>
          <p:cNvSpPr>
            <a:spLocks noGrp="1"/>
          </p:cNvSpPr>
          <p:nvPr>
            <p:ph type="pic" sz="quarter" idx="19" hasCustomPrompt="1"/>
          </p:nvPr>
        </p:nvSpPr>
        <p:spPr>
          <a:xfrm>
            <a:off x="11014738" y="5671457"/>
            <a:ext cx="830189" cy="830189"/>
          </a:xfrm>
          <a:prstGeom prst="blockArc">
            <a:avLst>
              <a:gd name="adj1" fmla="val 21599999"/>
              <a:gd name="adj2" fmla="val 5574993"/>
              <a:gd name="adj3" fmla="val 14903"/>
            </a:avLst>
          </a:prstGeom>
          <a:solidFill>
            <a:schemeClr val="bg1"/>
          </a:solidFill>
        </p:spPr>
        <p:txBody>
          <a:bodyPr/>
          <a:lstStyle>
            <a:lvl1pPr marL="0" indent="0">
              <a:buNone/>
              <a:defRPr/>
            </a:lvl1pPr>
          </a:lstStyle>
          <a:p>
            <a:r>
              <a:rPr lang="en-GB" dirty="0"/>
              <a:t>  </a:t>
            </a:r>
          </a:p>
        </p:txBody>
      </p:sp>
      <p:sp>
        <p:nvSpPr>
          <p:cNvPr id="12" name="Text Placeholder 9">
            <a:extLst>
              <a:ext uri="{FF2B5EF4-FFF2-40B4-BE49-F238E27FC236}">
                <a16:creationId xmlns:a16="http://schemas.microsoft.com/office/drawing/2014/main" id="{5B8A1627-2370-49BF-8726-673B85B5E7A7}"/>
              </a:ext>
            </a:extLst>
          </p:cNvPr>
          <p:cNvSpPr>
            <a:spLocks noGrp="1"/>
          </p:cNvSpPr>
          <p:nvPr>
            <p:ph type="body" sz="quarter" idx="20" hasCustomPrompt="1"/>
          </p:nvPr>
        </p:nvSpPr>
        <p:spPr>
          <a:xfrm>
            <a:off x="463809" y="903074"/>
            <a:ext cx="8130310" cy="729174"/>
          </a:xfrm>
        </p:spPr>
        <p:txBody>
          <a:bodyPr anchor="t"/>
          <a:lstStyle>
            <a:lvl1pPr marL="0" indent="0">
              <a:buNone/>
              <a:defRPr lang="en-GB" sz="2000" kern="1200" dirty="0">
                <a:solidFill>
                  <a:schemeClr val="tx1"/>
                </a:solidFill>
                <a:latin typeface="Poppins Medium" panose="02000000000000000000" pitchFamily="2" charset="0"/>
                <a:ea typeface="+mn-ea"/>
                <a:cs typeface="Poppins Medium"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marL="0" lvl="0" indent="0" algn="l" defTabSz="914400" rtl="0" eaLnBrk="1" latinLnBrk="0" hangingPunct="1">
              <a:lnSpc>
                <a:spcPct val="105000"/>
              </a:lnSpc>
              <a:spcBef>
                <a:spcPts val="1000"/>
              </a:spcBef>
              <a:buFont typeface="Wingdings 2" panose="05020102010507070707" pitchFamily="18" charset="2"/>
              <a:buNone/>
            </a:pPr>
            <a:r>
              <a:rPr lang="en-US" dirty="0"/>
              <a:t>Sub-heading</a:t>
            </a:r>
            <a:endParaRPr lang="en-GB" dirty="0"/>
          </a:p>
        </p:txBody>
      </p:sp>
      <p:sp>
        <p:nvSpPr>
          <p:cNvPr id="15" name="Slide Number Placeholder 5">
            <a:extLst>
              <a:ext uri="{FF2B5EF4-FFF2-40B4-BE49-F238E27FC236}">
                <a16:creationId xmlns:a16="http://schemas.microsoft.com/office/drawing/2014/main" id="{7D2C45C7-7536-4019-8C22-659CBFBD6526}"/>
              </a:ext>
            </a:extLst>
          </p:cNvPr>
          <p:cNvSpPr txBox="1">
            <a:spLocks/>
          </p:cNvSpPr>
          <p:nvPr userDrawn="1"/>
        </p:nvSpPr>
        <p:spPr>
          <a:xfrm>
            <a:off x="11387579"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olidFill>
                  <a:schemeClr val="tx1"/>
                </a:solidFill>
                <a:sym typeface="Symbol" panose="05050102010706020507" pitchFamily="18" charset="2"/>
              </a:rPr>
              <a:t> </a:t>
            </a:r>
            <a:fld id="{985D5D71-2132-4A0D-A457-AC01235D778F}" type="slidenum">
              <a:rPr lang="en-GB" sz="800" kern="1200" smtClean="0">
                <a:solidFill>
                  <a:schemeClr val="tx1"/>
                </a:solidFill>
                <a:latin typeface="Poppins Medium" panose="02000000000000000000" pitchFamily="2" charset="0"/>
                <a:ea typeface="+mn-ea"/>
                <a:cs typeface="Poppins Medium" panose="02000000000000000000" pitchFamily="2" charset="0"/>
              </a:rPr>
              <a:pPr/>
              <a:t>‹#›</a:t>
            </a:fld>
            <a:endParaRPr lang="en-GB" sz="800" kern="1200" dirty="0">
              <a:solidFill>
                <a:schemeClr val="tx1"/>
              </a:solidFill>
              <a:latin typeface="Poppins Medium" panose="02000000000000000000" pitchFamily="2" charset="0"/>
              <a:ea typeface="+mn-ea"/>
              <a:cs typeface="Poppins Medium" panose="02000000000000000000" pitchFamily="2" charset="0"/>
            </a:endParaRPr>
          </a:p>
        </p:txBody>
      </p:sp>
    </p:spTree>
    <p:extLst>
      <p:ext uri="{BB962C8B-B14F-4D97-AF65-F5344CB8AC3E}">
        <p14:creationId xmlns:p14="http://schemas.microsoft.com/office/powerpoint/2010/main" val="2515713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2">
    <p:bg>
      <p:bgPr>
        <a:solidFill>
          <a:schemeClr val="bg1"/>
        </a:solidFill>
        <a:effectLst/>
      </p:bgPr>
    </p:bg>
    <p:spTree>
      <p:nvGrpSpPr>
        <p:cNvPr id="1" name=""/>
        <p:cNvGrpSpPr/>
        <p:nvPr/>
      </p:nvGrpSpPr>
      <p:grpSpPr>
        <a:xfrm>
          <a:off x="0" y="0"/>
          <a:ext cx="0" cy="0"/>
          <a:chOff x="0" y="0"/>
          <a:chExt cx="0" cy="0"/>
        </a:xfrm>
      </p:grpSpPr>
      <p:sp>
        <p:nvSpPr>
          <p:cNvPr id="162" name="Freeform 5">
            <a:extLst>
              <a:ext uri="{FF2B5EF4-FFF2-40B4-BE49-F238E27FC236}">
                <a16:creationId xmlns:a16="http://schemas.microsoft.com/office/drawing/2014/main" id="{ECEAA9E9-0816-4CCA-81F8-336EB3FC0F50}"/>
              </a:ext>
            </a:extLst>
          </p:cNvPr>
          <p:cNvSpPr>
            <a:spLocks/>
          </p:cNvSpPr>
          <p:nvPr userDrawn="1"/>
        </p:nvSpPr>
        <p:spPr bwMode="auto">
          <a:xfrm>
            <a:off x="-8927" y="0"/>
            <a:ext cx="7343775" cy="6858000"/>
          </a:xfrm>
          <a:custGeom>
            <a:avLst/>
            <a:gdLst>
              <a:gd name="T0" fmla="*/ 0 w 7714"/>
              <a:gd name="T1" fmla="*/ 0 h 7199"/>
              <a:gd name="T2" fmla="*/ 0 w 7714"/>
              <a:gd name="T3" fmla="*/ 0 h 7199"/>
              <a:gd name="T4" fmla="*/ 7714 w 7714"/>
              <a:gd name="T5" fmla="*/ 0 h 7199"/>
              <a:gd name="T6" fmla="*/ 7714 w 7714"/>
              <a:gd name="T7" fmla="*/ 7199 h 7199"/>
              <a:gd name="T8" fmla="*/ 0 w 7714"/>
              <a:gd name="T9" fmla="*/ 7199 h 7199"/>
              <a:gd name="T10" fmla="*/ 0 w 7714"/>
              <a:gd name="T11" fmla="*/ 0 h 7199"/>
            </a:gdLst>
            <a:ahLst/>
            <a:cxnLst>
              <a:cxn ang="0">
                <a:pos x="T0" y="T1"/>
              </a:cxn>
              <a:cxn ang="0">
                <a:pos x="T2" y="T3"/>
              </a:cxn>
              <a:cxn ang="0">
                <a:pos x="T4" y="T5"/>
              </a:cxn>
              <a:cxn ang="0">
                <a:pos x="T6" y="T7"/>
              </a:cxn>
              <a:cxn ang="0">
                <a:pos x="T8" y="T9"/>
              </a:cxn>
              <a:cxn ang="0">
                <a:pos x="T10" y="T11"/>
              </a:cxn>
            </a:cxnLst>
            <a:rect l="0" t="0" r="r" b="b"/>
            <a:pathLst>
              <a:path w="7714" h="7199">
                <a:moveTo>
                  <a:pt x="0" y="0"/>
                </a:moveTo>
                <a:lnTo>
                  <a:pt x="0" y="0"/>
                </a:lnTo>
                <a:lnTo>
                  <a:pt x="7714" y="0"/>
                </a:lnTo>
                <a:lnTo>
                  <a:pt x="7714" y="7199"/>
                </a:lnTo>
                <a:lnTo>
                  <a:pt x="0" y="7199"/>
                </a:lnTo>
                <a:lnTo>
                  <a:pt x="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a:extLst>
              <a:ext uri="{FF2B5EF4-FFF2-40B4-BE49-F238E27FC236}">
                <a16:creationId xmlns:a16="http://schemas.microsoft.com/office/drawing/2014/main" id="{6E57FC1A-D1D7-41DF-9C38-132EB0022C80}"/>
              </a:ext>
            </a:extLst>
          </p:cNvPr>
          <p:cNvSpPr>
            <a:spLocks noGrp="1"/>
          </p:cNvSpPr>
          <p:nvPr userDrawn="1">
            <p:ph type="ctrTitle" hasCustomPrompt="1"/>
          </p:nvPr>
        </p:nvSpPr>
        <p:spPr>
          <a:xfrm>
            <a:off x="401192" y="3023679"/>
            <a:ext cx="6205329" cy="2896402"/>
          </a:xfrm>
          <a:noFill/>
        </p:spPr>
        <p:txBody>
          <a:bodyPr anchor="t" anchorCtr="0">
            <a:noAutofit/>
          </a:bodyPr>
          <a:lstStyle>
            <a:lvl1pPr algn="l">
              <a:defRPr sz="4200">
                <a:solidFill>
                  <a:schemeClr val="bg1"/>
                </a:solidFill>
              </a:defRPr>
            </a:lvl1pPr>
          </a:lstStyle>
          <a:p>
            <a:r>
              <a:rPr lang="en-US"/>
              <a:t>Click to add document and/or subject matter here</a:t>
            </a:r>
            <a:endParaRPr lang="en-GB"/>
          </a:p>
        </p:txBody>
      </p:sp>
      <p:sp>
        <p:nvSpPr>
          <p:cNvPr id="3" name="Subtitle 2">
            <a:extLst>
              <a:ext uri="{FF2B5EF4-FFF2-40B4-BE49-F238E27FC236}">
                <a16:creationId xmlns:a16="http://schemas.microsoft.com/office/drawing/2014/main" id="{00A92183-67E0-42C7-899A-3D39BFAEA1EB}"/>
              </a:ext>
            </a:extLst>
          </p:cNvPr>
          <p:cNvSpPr>
            <a:spLocks noGrp="1"/>
          </p:cNvSpPr>
          <p:nvPr userDrawn="1">
            <p:ph type="subTitle" idx="1" hasCustomPrompt="1"/>
          </p:nvPr>
        </p:nvSpPr>
        <p:spPr>
          <a:xfrm>
            <a:off x="400657" y="5960368"/>
            <a:ext cx="6206400" cy="215444"/>
          </a:xfrm>
        </p:spPr>
        <p:txBody>
          <a:bodyPr>
            <a:spAutoFit/>
          </a:bodyPr>
          <a:lstStyle>
            <a:lvl1pPr marL="0" indent="0" algn="l">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ate here</a:t>
            </a:r>
            <a:endParaRPr lang="en-GB"/>
          </a:p>
        </p:txBody>
      </p:sp>
      <p:sp>
        <p:nvSpPr>
          <p:cNvPr id="4" name="Date Placeholder 3">
            <a:extLst>
              <a:ext uri="{FF2B5EF4-FFF2-40B4-BE49-F238E27FC236}">
                <a16:creationId xmlns:a16="http://schemas.microsoft.com/office/drawing/2014/main" id="{8DA7B571-A906-45BD-9E11-7E7DC4D909FA}"/>
              </a:ext>
            </a:extLst>
          </p:cNvPr>
          <p:cNvSpPr>
            <a:spLocks noGrp="1"/>
          </p:cNvSpPr>
          <p:nvPr userDrawn="1">
            <p:ph type="dt" sz="half" idx="10"/>
          </p:nvPr>
        </p:nvSpPr>
        <p:spPr/>
        <p:txBody>
          <a:bodyPr/>
          <a:lstStyle/>
          <a:p>
            <a:fld id="{D2B0ACB1-70FB-4355-98F4-8BB4EFBD5F05}" type="datetime6">
              <a:rPr lang="en-GB" smtClean="0"/>
              <a:t>November 21</a:t>
            </a:fld>
            <a:endParaRPr lang="en-GB"/>
          </a:p>
        </p:txBody>
      </p:sp>
      <p:sp>
        <p:nvSpPr>
          <p:cNvPr id="5" name="Footer Placeholder 4">
            <a:extLst>
              <a:ext uri="{FF2B5EF4-FFF2-40B4-BE49-F238E27FC236}">
                <a16:creationId xmlns:a16="http://schemas.microsoft.com/office/drawing/2014/main" id="{F66FCE6B-5B1A-451B-9EA1-51D3FF4FC0DC}"/>
              </a:ext>
            </a:extLst>
          </p:cNvPr>
          <p:cNvSpPr>
            <a:spLocks noGrp="1"/>
          </p:cNvSpPr>
          <p:nvPr userDrawn="1">
            <p:ph type="ftr" sz="quarter" idx="11"/>
          </p:nvPr>
        </p:nvSpPr>
        <p:spPr>
          <a:xfrm>
            <a:off x="408366" y="6357389"/>
            <a:ext cx="8520076" cy="153888"/>
          </a:xfrm>
        </p:spPr>
        <p:txBody>
          <a:bodyPr/>
          <a:lstStyle/>
          <a:p>
            <a:endParaRPr lang="en-GB"/>
          </a:p>
        </p:txBody>
      </p:sp>
      <p:sp>
        <p:nvSpPr>
          <p:cNvPr id="6" name="Slide Number Placeholder 5">
            <a:extLst>
              <a:ext uri="{FF2B5EF4-FFF2-40B4-BE49-F238E27FC236}">
                <a16:creationId xmlns:a16="http://schemas.microsoft.com/office/drawing/2014/main" id="{F27A0F01-F708-4994-9A0A-7F4EBDB76BCE}"/>
              </a:ext>
            </a:extLst>
          </p:cNvPr>
          <p:cNvSpPr>
            <a:spLocks noGrp="1"/>
          </p:cNvSpPr>
          <p:nvPr userDrawn="1">
            <p:ph type="sldNum" sz="quarter" idx="12"/>
          </p:nvPr>
        </p:nvSpPr>
        <p:spPr/>
        <p:txBody>
          <a:bodyPr/>
          <a:lstStyle/>
          <a:p>
            <a:fld id="{F4186869-B628-4395-96ED-AD53145CB3D4}" type="slidenum">
              <a:rPr lang="en-GB" smtClean="0"/>
              <a:t>‹#›</a:t>
            </a:fld>
            <a:endParaRPr lang="en-GB"/>
          </a:p>
        </p:txBody>
      </p:sp>
      <p:grpSp>
        <p:nvGrpSpPr>
          <p:cNvPr id="160" name="Group 159">
            <a:extLst>
              <a:ext uri="{FF2B5EF4-FFF2-40B4-BE49-F238E27FC236}">
                <a16:creationId xmlns:a16="http://schemas.microsoft.com/office/drawing/2014/main" id="{CA44B579-15A4-4799-814E-464621170AA4}"/>
              </a:ext>
            </a:extLst>
          </p:cNvPr>
          <p:cNvGrpSpPr/>
          <p:nvPr userDrawn="1"/>
        </p:nvGrpSpPr>
        <p:grpSpPr>
          <a:xfrm>
            <a:off x="6606521" y="-49614"/>
            <a:ext cx="757024" cy="6957228"/>
            <a:chOff x="4219340" y="-46301"/>
            <a:chExt cx="757024" cy="6957228"/>
          </a:xfrm>
        </p:grpSpPr>
        <p:pic>
          <p:nvPicPr>
            <p:cNvPr id="289" name="Picture 288">
              <a:extLst>
                <a:ext uri="{FF2B5EF4-FFF2-40B4-BE49-F238E27FC236}">
                  <a16:creationId xmlns:a16="http://schemas.microsoft.com/office/drawing/2014/main" id="{D56CFF8D-91C1-40A5-BE7B-C4112C22E3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19340" y="-46301"/>
              <a:ext cx="757024" cy="3802933"/>
            </a:xfrm>
            <a:prstGeom prst="rect">
              <a:avLst/>
            </a:prstGeom>
          </p:spPr>
        </p:pic>
        <p:pic>
          <p:nvPicPr>
            <p:cNvPr id="290" name="Picture 289">
              <a:extLst>
                <a:ext uri="{FF2B5EF4-FFF2-40B4-BE49-F238E27FC236}">
                  <a16:creationId xmlns:a16="http://schemas.microsoft.com/office/drawing/2014/main" id="{C241E301-333B-413D-8170-57318482B99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19340" y="3175001"/>
              <a:ext cx="757024" cy="3735926"/>
            </a:xfrm>
            <a:prstGeom prst="rect">
              <a:avLst/>
            </a:prstGeom>
          </p:spPr>
        </p:pic>
      </p:grpSp>
      <p:pic>
        <p:nvPicPr>
          <p:cNvPr id="36" name="Picture 35" descr="A picture containing clock, meter&#10;&#10;Description automatically generated">
            <a:extLst>
              <a:ext uri="{FF2B5EF4-FFF2-40B4-BE49-F238E27FC236}">
                <a16:creationId xmlns:a16="http://schemas.microsoft.com/office/drawing/2014/main" id="{C989FFCE-2EF2-4226-98F4-68EE84B3CD9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240038" y="354112"/>
            <a:ext cx="2686047" cy="339724"/>
          </a:xfrm>
          <a:prstGeom prst="rect">
            <a:avLst/>
          </a:prstGeom>
        </p:spPr>
      </p:pic>
    </p:spTree>
    <p:extLst>
      <p:ext uri="{BB962C8B-B14F-4D97-AF65-F5344CB8AC3E}">
        <p14:creationId xmlns:p14="http://schemas.microsoft.com/office/powerpoint/2010/main" val="396519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 statement 1">
    <p:spTree>
      <p:nvGrpSpPr>
        <p:cNvPr id="1" name=""/>
        <p:cNvGrpSpPr/>
        <p:nvPr/>
      </p:nvGrpSpPr>
      <p:grpSpPr>
        <a:xfrm>
          <a:off x="0" y="0"/>
          <a:ext cx="0" cy="0"/>
          <a:chOff x="0" y="0"/>
          <a:chExt cx="0" cy="0"/>
        </a:xfrm>
      </p:grpSpPr>
      <p:sp>
        <p:nvSpPr>
          <p:cNvPr id="9" name="Text Placeholder 9">
            <a:extLst>
              <a:ext uri="{FF2B5EF4-FFF2-40B4-BE49-F238E27FC236}">
                <a16:creationId xmlns:a16="http://schemas.microsoft.com/office/drawing/2014/main" id="{721873C7-C6B0-4F10-A734-04E2202A4785}"/>
              </a:ext>
            </a:extLst>
          </p:cNvPr>
          <p:cNvSpPr>
            <a:spLocks noGrp="1"/>
          </p:cNvSpPr>
          <p:nvPr>
            <p:ph type="body" sz="quarter" idx="11" hasCustomPrompt="1"/>
          </p:nvPr>
        </p:nvSpPr>
        <p:spPr>
          <a:xfrm>
            <a:off x="466725" y="2577419"/>
            <a:ext cx="5455104" cy="947738"/>
          </a:xfrm>
        </p:spPr>
        <p:txBody>
          <a:bodyPr anchor="b"/>
          <a:lstStyle>
            <a:lvl1pPr marL="0" indent="0">
              <a:buNone/>
              <a:defRPr lang="en-GB" sz="2800" kern="1200" dirty="0">
                <a:solidFill>
                  <a:schemeClr val="tx1"/>
                </a:solidFill>
                <a:latin typeface="Poppins SemiBold" panose="02000000000000000000" pitchFamily="2" charset="0"/>
                <a:ea typeface="+mn-ea"/>
                <a:cs typeface="Poppins SemiBold"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Divider/statement slide</a:t>
            </a:r>
            <a:endParaRPr lang="en-GB" dirty="0"/>
          </a:p>
        </p:txBody>
      </p:sp>
      <p:sp>
        <p:nvSpPr>
          <p:cNvPr id="10" name="Text Placeholder 9">
            <a:extLst>
              <a:ext uri="{FF2B5EF4-FFF2-40B4-BE49-F238E27FC236}">
                <a16:creationId xmlns:a16="http://schemas.microsoft.com/office/drawing/2014/main" id="{D635E2F5-E4DF-49DA-A987-8996839F149F}"/>
              </a:ext>
            </a:extLst>
          </p:cNvPr>
          <p:cNvSpPr>
            <a:spLocks noGrp="1"/>
          </p:cNvSpPr>
          <p:nvPr>
            <p:ph type="body" sz="quarter" idx="12" hasCustomPrompt="1"/>
          </p:nvPr>
        </p:nvSpPr>
        <p:spPr>
          <a:xfrm>
            <a:off x="466725" y="3645153"/>
            <a:ext cx="5455104" cy="947738"/>
          </a:xfrm>
        </p:spPr>
        <p:txBody>
          <a:bodyPr anchor="t"/>
          <a:lstStyle>
            <a:lvl1pPr marL="0" indent="0">
              <a:buNone/>
              <a:defRPr lang="en-GB" sz="1900" kern="1200" dirty="0">
                <a:solidFill>
                  <a:schemeClr val="tx1"/>
                </a:solidFill>
                <a:latin typeface="Poppins" panose="02000000000000000000" pitchFamily="2" charset="0"/>
                <a:ea typeface="+mn-ea"/>
                <a:cs typeface="Poppins"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Sub-heading</a:t>
            </a:r>
            <a:endParaRPr lang="en-GB" dirty="0"/>
          </a:p>
        </p:txBody>
      </p:sp>
      <p:sp>
        <p:nvSpPr>
          <p:cNvPr id="5" name="Slide Number Placeholder 5">
            <a:extLst>
              <a:ext uri="{FF2B5EF4-FFF2-40B4-BE49-F238E27FC236}">
                <a16:creationId xmlns:a16="http://schemas.microsoft.com/office/drawing/2014/main" id="{0A3EE1AB-07BC-4182-9234-8D58B0FBAFC3}"/>
              </a:ext>
            </a:extLst>
          </p:cNvPr>
          <p:cNvSpPr txBox="1">
            <a:spLocks/>
          </p:cNvSpPr>
          <p:nvPr userDrawn="1"/>
        </p:nvSpPr>
        <p:spPr>
          <a:xfrm>
            <a:off x="11387579" y="6472153"/>
            <a:ext cx="341983" cy="211451"/>
          </a:xfrm>
          <a:prstGeom prst="rect">
            <a:avLst/>
          </a:prstGeom>
          <a:noFill/>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grpSp>
        <p:nvGrpSpPr>
          <p:cNvPr id="3" name="Group 2">
            <a:extLst>
              <a:ext uri="{FF2B5EF4-FFF2-40B4-BE49-F238E27FC236}">
                <a16:creationId xmlns:a16="http://schemas.microsoft.com/office/drawing/2014/main" id="{493E4467-F06B-47DD-B555-3F56CB227A3D}"/>
              </a:ext>
            </a:extLst>
          </p:cNvPr>
          <p:cNvGrpSpPr/>
          <p:nvPr userDrawn="1"/>
        </p:nvGrpSpPr>
        <p:grpSpPr>
          <a:xfrm>
            <a:off x="0" y="-17657"/>
            <a:ext cx="12192000" cy="6892182"/>
            <a:chOff x="0" y="-17657"/>
            <a:chExt cx="12192000" cy="6892182"/>
          </a:xfrm>
        </p:grpSpPr>
        <p:pic>
          <p:nvPicPr>
            <p:cNvPr id="6" name="Picture 5">
              <a:extLst>
                <a:ext uri="{FF2B5EF4-FFF2-40B4-BE49-F238E27FC236}">
                  <a16:creationId xmlns:a16="http://schemas.microsoft.com/office/drawing/2014/main" id="{389F6031-FE48-4AEC-9FC5-C3EFE0045295}"/>
                </a:ext>
              </a:extLst>
            </p:cNvPr>
            <p:cNvPicPr>
              <a:picLocks noChangeAspect="1"/>
            </p:cNvPicPr>
            <p:nvPr userDrawn="1"/>
          </p:nvPicPr>
          <p:blipFill>
            <a:blip r:embed="rId2"/>
            <a:stretch>
              <a:fillRect/>
            </a:stretch>
          </p:blipFill>
          <p:spPr>
            <a:xfrm>
              <a:off x="0" y="-17657"/>
              <a:ext cx="12192000" cy="6892182"/>
            </a:xfrm>
            <a:prstGeom prst="rect">
              <a:avLst/>
            </a:prstGeom>
          </p:spPr>
        </p:pic>
        <p:sp>
          <p:nvSpPr>
            <p:cNvPr id="2" name="Oval 1">
              <a:extLst>
                <a:ext uri="{FF2B5EF4-FFF2-40B4-BE49-F238E27FC236}">
                  <a16:creationId xmlns:a16="http://schemas.microsoft.com/office/drawing/2014/main" id="{EECE8109-0B50-40F4-8FFA-A6279A083C32}"/>
                </a:ext>
              </a:extLst>
            </p:cNvPr>
            <p:cNvSpPr>
              <a:spLocks noChangeAspect="1"/>
            </p:cNvSpPr>
            <p:nvPr userDrawn="1"/>
          </p:nvSpPr>
          <p:spPr>
            <a:xfrm>
              <a:off x="9574924" y="5256529"/>
              <a:ext cx="720000" cy="720000"/>
            </a:xfrm>
            <a:prstGeom prst="ellipse">
              <a:avLst/>
            </a:prstGeom>
            <a:solidFill>
              <a:srgbClr val="277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37093634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 statement 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7F3AF1D-3EA3-412A-BABF-8F0C9C085A3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Slide Number Placeholder 5">
            <a:extLst>
              <a:ext uri="{FF2B5EF4-FFF2-40B4-BE49-F238E27FC236}">
                <a16:creationId xmlns:a16="http://schemas.microsoft.com/office/drawing/2014/main" id="{9756D388-3092-486D-9083-320B1961BA4A}"/>
              </a:ext>
            </a:extLst>
          </p:cNvPr>
          <p:cNvSpPr txBox="1">
            <a:spLocks/>
          </p:cNvSpPr>
          <p:nvPr userDrawn="1"/>
        </p:nvSpPr>
        <p:spPr>
          <a:xfrm>
            <a:off x="11387579" y="6472153"/>
            <a:ext cx="341983" cy="211451"/>
          </a:xfrm>
          <a:prstGeom prst="rect">
            <a:avLst/>
          </a:prstGeom>
          <a:noFill/>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
        <p:nvSpPr>
          <p:cNvPr id="9" name="Text Placeholder 9">
            <a:extLst>
              <a:ext uri="{FF2B5EF4-FFF2-40B4-BE49-F238E27FC236}">
                <a16:creationId xmlns:a16="http://schemas.microsoft.com/office/drawing/2014/main" id="{080224E0-0476-4C82-AEFD-1F768E41ECBB}"/>
              </a:ext>
            </a:extLst>
          </p:cNvPr>
          <p:cNvSpPr>
            <a:spLocks noGrp="1"/>
          </p:cNvSpPr>
          <p:nvPr>
            <p:ph type="body" sz="quarter" idx="11" hasCustomPrompt="1"/>
          </p:nvPr>
        </p:nvSpPr>
        <p:spPr>
          <a:xfrm>
            <a:off x="466725" y="2577419"/>
            <a:ext cx="5455104" cy="947738"/>
          </a:xfrm>
        </p:spPr>
        <p:txBody>
          <a:bodyPr anchor="b"/>
          <a:lstStyle>
            <a:lvl1pPr marL="0" indent="0">
              <a:buNone/>
              <a:defRPr lang="en-GB" sz="2800" kern="1200" dirty="0">
                <a:solidFill>
                  <a:schemeClr val="bg1"/>
                </a:solidFill>
                <a:latin typeface="Poppins SemiBold" panose="02000000000000000000" pitchFamily="2" charset="0"/>
                <a:ea typeface="+mn-ea"/>
                <a:cs typeface="Poppins SemiBold"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Divider/statement slide</a:t>
            </a:r>
            <a:endParaRPr lang="en-GB" dirty="0"/>
          </a:p>
        </p:txBody>
      </p:sp>
      <p:sp>
        <p:nvSpPr>
          <p:cNvPr id="10" name="Text Placeholder 9">
            <a:extLst>
              <a:ext uri="{FF2B5EF4-FFF2-40B4-BE49-F238E27FC236}">
                <a16:creationId xmlns:a16="http://schemas.microsoft.com/office/drawing/2014/main" id="{F1C79D35-0D5B-4C8A-A36B-599F0BDB166A}"/>
              </a:ext>
            </a:extLst>
          </p:cNvPr>
          <p:cNvSpPr>
            <a:spLocks noGrp="1"/>
          </p:cNvSpPr>
          <p:nvPr>
            <p:ph type="body" sz="quarter" idx="12" hasCustomPrompt="1"/>
          </p:nvPr>
        </p:nvSpPr>
        <p:spPr>
          <a:xfrm>
            <a:off x="466725" y="3645153"/>
            <a:ext cx="5455104" cy="947738"/>
          </a:xfrm>
        </p:spPr>
        <p:txBody>
          <a:bodyPr anchor="t"/>
          <a:lstStyle>
            <a:lvl1pPr marL="0" indent="0">
              <a:buNone/>
              <a:defRPr lang="en-GB" sz="1900" kern="1200" dirty="0">
                <a:solidFill>
                  <a:schemeClr val="bg1"/>
                </a:solidFill>
                <a:latin typeface="Poppins" panose="02000000000000000000" pitchFamily="2" charset="0"/>
                <a:ea typeface="+mn-ea"/>
                <a:cs typeface="Poppins"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Sub-heading</a:t>
            </a:r>
            <a:endParaRPr lang="en-GB" dirty="0"/>
          </a:p>
        </p:txBody>
      </p:sp>
      <p:sp>
        <p:nvSpPr>
          <p:cNvPr id="6" name="TextBox 5">
            <a:extLst>
              <a:ext uri="{FF2B5EF4-FFF2-40B4-BE49-F238E27FC236}">
                <a16:creationId xmlns:a16="http://schemas.microsoft.com/office/drawing/2014/main" id="{64B91856-37F2-4B78-BB63-C24F2DD70E61}"/>
              </a:ext>
            </a:extLst>
          </p:cNvPr>
          <p:cNvSpPr txBox="1"/>
          <p:nvPr userDrawn="1"/>
        </p:nvSpPr>
        <p:spPr>
          <a:xfrm>
            <a:off x="373711" y="6453309"/>
            <a:ext cx="3872286" cy="215444"/>
          </a:xfrm>
          <a:prstGeom prst="rect">
            <a:avLst/>
          </a:prstGeom>
          <a:noFill/>
        </p:spPr>
        <p:txBody>
          <a:bodyPr wrap="square" rtlCol="0">
            <a:spAutoFit/>
          </a:bodyPr>
          <a:lstStyle/>
          <a:p>
            <a:r>
              <a:rPr lang="en-GB" sz="800" dirty="0" err="1">
                <a:solidFill>
                  <a:schemeClr val="bg1"/>
                </a:solidFill>
                <a:latin typeface="Poppins Medium" panose="02000000000000000000" pitchFamily="2" charset="0"/>
                <a:cs typeface="Poppins Medium" panose="02000000000000000000" pitchFamily="2" charset="0"/>
              </a:rPr>
              <a:t>Zemo</a:t>
            </a:r>
            <a:r>
              <a:rPr lang="en-GB" sz="800" dirty="0">
                <a:solidFill>
                  <a:schemeClr val="bg1"/>
                </a:solidFill>
                <a:latin typeface="Poppins Medium" panose="02000000000000000000" pitchFamily="2" charset="0"/>
                <a:cs typeface="Poppins Medium" panose="02000000000000000000" pitchFamily="2" charset="0"/>
              </a:rPr>
              <a:t> Partnership </a:t>
            </a:r>
            <a:r>
              <a:rPr lang="en-GB" sz="800" dirty="0">
                <a:solidFill>
                  <a:schemeClr val="bg1"/>
                </a:solidFill>
                <a:latin typeface="Poppins" panose="02000000000000000000" pitchFamily="2" charset="0"/>
                <a:cs typeface="Poppins" panose="02000000000000000000" pitchFamily="2" charset="0"/>
              </a:rPr>
              <a:t>© Copyright 2021</a:t>
            </a:r>
          </a:p>
        </p:txBody>
      </p:sp>
    </p:spTree>
    <p:extLst>
      <p:ext uri="{BB962C8B-B14F-4D97-AF65-F5344CB8AC3E}">
        <p14:creationId xmlns:p14="http://schemas.microsoft.com/office/powerpoint/2010/main" val="2507379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 statement 3">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5F574A6-3049-4E35-AC0A-0314002C783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339770" y="1233714"/>
            <a:ext cx="7852229" cy="5629433"/>
          </a:xfrm>
          <a:prstGeom prst="rect">
            <a:avLst/>
          </a:prstGeom>
        </p:spPr>
      </p:pic>
      <p:sp>
        <p:nvSpPr>
          <p:cNvPr id="7" name="Slide Number Placeholder 5">
            <a:extLst>
              <a:ext uri="{FF2B5EF4-FFF2-40B4-BE49-F238E27FC236}">
                <a16:creationId xmlns:a16="http://schemas.microsoft.com/office/drawing/2014/main" id="{B02194DB-3D46-45CF-B98F-BE17173B6F59}"/>
              </a:ext>
            </a:extLst>
          </p:cNvPr>
          <p:cNvSpPr txBox="1">
            <a:spLocks/>
          </p:cNvSpPr>
          <p:nvPr userDrawn="1"/>
        </p:nvSpPr>
        <p:spPr>
          <a:xfrm>
            <a:off x="11387579" y="6472153"/>
            <a:ext cx="341983" cy="211451"/>
          </a:xfrm>
          <a:prstGeom prst="rect">
            <a:avLst/>
          </a:prstGeom>
          <a:noFill/>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
        <p:nvSpPr>
          <p:cNvPr id="9" name="Text Placeholder 9">
            <a:extLst>
              <a:ext uri="{FF2B5EF4-FFF2-40B4-BE49-F238E27FC236}">
                <a16:creationId xmlns:a16="http://schemas.microsoft.com/office/drawing/2014/main" id="{EAA76DE0-BB6C-44EB-BBF1-0EE0566A10E7}"/>
              </a:ext>
            </a:extLst>
          </p:cNvPr>
          <p:cNvSpPr>
            <a:spLocks noGrp="1"/>
          </p:cNvSpPr>
          <p:nvPr>
            <p:ph type="body" sz="quarter" idx="11" hasCustomPrompt="1"/>
          </p:nvPr>
        </p:nvSpPr>
        <p:spPr>
          <a:xfrm>
            <a:off x="466725" y="2577419"/>
            <a:ext cx="5455104" cy="947738"/>
          </a:xfrm>
        </p:spPr>
        <p:txBody>
          <a:bodyPr anchor="b"/>
          <a:lstStyle>
            <a:lvl1pPr marL="0" indent="0">
              <a:buNone/>
              <a:defRPr lang="en-GB" sz="2800" kern="1200" dirty="0">
                <a:solidFill>
                  <a:schemeClr val="tx1"/>
                </a:solidFill>
                <a:latin typeface="Poppins SemiBold" panose="02000000000000000000" pitchFamily="2" charset="0"/>
                <a:ea typeface="+mn-ea"/>
                <a:cs typeface="Poppins SemiBold"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Divider/statement slide</a:t>
            </a:r>
            <a:endParaRPr lang="en-GB" dirty="0"/>
          </a:p>
        </p:txBody>
      </p:sp>
      <p:sp>
        <p:nvSpPr>
          <p:cNvPr id="10" name="Text Placeholder 9">
            <a:extLst>
              <a:ext uri="{FF2B5EF4-FFF2-40B4-BE49-F238E27FC236}">
                <a16:creationId xmlns:a16="http://schemas.microsoft.com/office/drawing/2014/main" id="{AEDB77B7-26ED-4319-B10C-03D4439CD646}"/>
              </a:ext>
            </a:extLst>
          </p:cNvPr>
          <p:cNvSpPr>
            <a:spLocks noGrp="1"/>
          </p:cNvSpPr>
          <p:nvPr>
            <p:ph type="body" sz="quarter" idx="12" hasCustomPrompt="1"/>
          </p:nvPr>
        </p:nvSpPr>
        <p:spPr>
          <a:xfrm>
            <a:off x="466725" y="3645153"/>
            <a:ext cx="5455104" cy="947738"/>
          </a:xfrm>
        </p:spPr>
        <p:txBody>
          <a:bodyPr anchor="t"/>
          <a:lstStyle>
            <a:lvl1pPr marL="0" indent="0">
              <a:buNone/>
              <a:defRPr lang="en-GB" sz="1900" kern="1200" dirty="0">
                <a:solidFill>
                  <a:schemeClr val="tx1"/>
                </a:solidFill>
                <a:latin typeface="Poppins" panose="02000000000000000000" pitchFamily="2" charset="0"/>
                <a:ea typeface="+mn-ea"/>
                <a:cs typeface="Poppins"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Sub-heading</a:t>
            </a:r>
            <a:endParaRPr lang="en-GB" dirty="0"/>
          </a:p>
        </p:txBody>
      </p:sp>
    </p:spTree>
    <p:extLst>
      <p:ext uri="{BB962C8B-B14F-4D97-AF65-F5344CB8AC3E}">
        <p14:creationId xmlns:p14="http://schemas.microsoft.com/office/powerpoint/2010/main" val="9956286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pag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DE5FF99-F090-432D-AC90-928E3924851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065486" y="2235200"/>
            <a:ext cx="7126514" cy="4622800"/>
          </a:xfrm>
          <a:prstGeom prst="rect">
            <a:avLst/>
          </a:prstGeom>
        </p:spPr>
      </p:pic>
      <p:sp>
        <p:nvSpPr>
          <p:cNvPr id="2" name="TextBox 1">
            <a:extLst>
              <a:ext uri="{FF2B5EF4-FFF2-40B4-BE49-F238E27FC236}">
                <a16:creationId xmlns:a16="http://schemas.microsoft.com/office/drawing/2014/main" id="{97DA2CF9-9B30-42F3-BCEA-8FB4097068F3}"/>
              </a:ext>
            </a:extLst>
          </p:cNvPr>
          <p:cNvSpPr txBox="1"/>
          <p:nvPr userDrawn="1"/>
        </p:nvSpPr>
        <p:spPr>
          <a:xfrm>
            <a:off x="383455" y="2781564"/>
            <a:ext cx="319314" cy="384721"/>
          </a:xfrm>
          <a:prstGeom prst="rect">
            <a:avLst/>
          </a:prstGeom>
          <a:noFill/>
        </p:spPr>
        <p:txBody>
          <a:bodyPr wrap="square" rtlCol="0">
            <a:spAutoFit/>
          </a:bodyPr>
          <a:lstStyle/>
          <a:p>
            <a:r>
              <a:rPr lang="en-US" sz="1900" kern="1200" dirty="0">
                <a:solidFill>
                  <a:schemeClr val="tx1"/>
                </a:solidFill>
                <a:latin typeface="Poppins Medium" panose="02000000000000000000" pitchFamily="2" charset="0"/>
                <a:ea typeface="+mn-ea"/>
                <a:cs typeface="Poppins Medium" panose="02000000000000000000" pitchFamily="2" charset="0"/>
              </a:rPr>
              <a:t>“</a:t>
            </a:r>
            <a:endParaRPr lang="en-GB" sz="1900" kern="1200" dirty="0">
              <a:solidFill>
                <a:schemeClr val="tx1"/>
              </a:solidFill>
              <a:latin typeface="Poppins Medium" panose="02000000000000000000" pitchFamily="2" charset="0"/>
              <a:ea typeface="+mn-ea"/>
              <a:cs typeface="Poppins Medium" panose="02000000000000000000" pitchFamily="2" charset="0"/>
            </a:endParaRPr>
          </a:p>
        </p:txBody>
      </p:sp>
      <p:sp>
        <p:nvSpPr>
          <p:cNvPr id="9" name="Slide Number Placeholder 5">
            <a:extLst>
              <a:ext uri="{FF2B5EF4-FFF2-40B4-BE49-F238E27FC236}">
                <a16:creationId xmlns:a16="http://schemas.microsoft.com/office/drawing/2014/main" id="{7D688C7F-FF86-49F3-97BA-61E01E8CDFD4}"/>
              </a:ext>
            </a:extLst>
          </p:cNvPr>
          <p:cNvSpPr txBox="1">
            <a:spLocks/>
          </p:cNvSpPr>
          <p:nvPr userDrawn="1"/>
        </p:nvSpPr>
        <p:spPr>
          <a:xfrm>
            <a:off x="11387579" y="6472153"/>
            <a:ext cx="341983" cy="211451"/>
          </a:xfrm>
          <a:prstGeom prst="rect">
            <a:avLst/>
          </a:prstGeom>
          <a:noFill/>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
        <p:nvSpPr>
          <p:cNvPr id="12" name="Text Placeholder 9">
            <a:extLst>
              <a:ext uri="{FF2B5EF4-FFF2-40B4-BE49-F238E27FC236}">
                <a16:creationId xmlns:a16="http://schemas.microsoft.com/office/drawing/2014/main" id="{CF3B5DA4-E01C-442D-82C0-19B8EB8CB729}"/>
              </a:ext>
            </a:extLst>
          </p:cNvPr>
          <p:cNvSpPr>
            <a:spLocks noGrp="1"/>
          </p:cNvSpPr>
          <p:nvPr>
            <p:ph type="body" sz="quarter" idx="12" hasCustomPrompt="1"/>
          </p:nvPr>
        </p:nvSpPr>
        <p:spPr>
          <a:xfrm>
            <a:off x="558987" y="2818403"/>
            <a:ext cx="6264088" cy="610597"/>
          </a:xfrm>
        </p:spPr>
        <p:txBody>
          <a:bodyPr anchor="t"/>
          <a:lstStyle>
            <a:lvl1pPr marL="0" indent="0">
              <a:buNone/>
              <a:defRPr lang="en-GB" sz="1900" kern="1200" dirty="0">
                <a:solidFill>
                  <a:schemeClr val="tx1"/>
                </a:solidFill>
                <a:latin typeface="Poppins Medium" panose="02000000000000000000" pitchFamily="2" charset="0"/>
                <a:ea typeface="+mn-ea"/>
                <a:cs typeface="Poppins Medium"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Quote.”</a:t>
            </a:r>
            <a:endParaRPr lang="en-GB" dirty="0"/>
          </a:p>
        </p:txBody>
      </p:sp>
      <p:sp>
        <p:nvSpPr>
          <p:cNvPr id="13" name="Text Placeholder 9">
            <a:extLst>
              <a:ext uri="{FF2B5EF4-FFF2-40B4-BE49-F238E27FC236}">
                <a16:creationId xmlns:a16="http://schemas.microsoft.com/office/drawing/2014/main" id="{589676E9-8089-4D1F-ABF2-2E7658931CC7}"/>
              </a:ext>
            </a:extLst>
          </p:cNvPr>
          <p:cNvSpPr>
            <a:spLocks noGrp="1"/>
          </p:cNvSpPr>
          <p:nvPr>
            <p:ph type="body" sz="quarter" idx="13" hasCustomPrompt="1"/>
          </p:nvPr>
        </p:nvSpPr>
        <p:spPr>
          <a:xfrm>
            <a:off x="558987" y="3516903"/>
            <a:ext cx="6264088" cy="610597"/>
          </a:xfrm>
        </p:spPr>
        <p:txBody>
          <a:bodyPr anchor="t"/>
          <a:lstStyle>
            <a:lvl1pPr marL="0" indent="0">
              <a:buNone/>
              <a:defRPr lang="en-GB" sz="1900" kern="1200" dirty="0">
                <a:solidFill>
                  <a:schemeClr val="tx1"/>
                </a:solidFill>
                <a:latin typeface="Poppins" panose="02000000000000000000" pitchFamily="2" charset="0"/>
                <a:ea typeface="+mn-ea"/>
                <a:cs typeface="Poppins"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Member name / logo</a:t>
            </a:r>
            <a:endParaRPr lang="en-GB" dirty="0"/>
          </a:p>
        </p:txBody>
      </p:sp>
      <p:sp>
        <p:nvSpPr>
          <p:cNvPr id="14" name="Text Placeholder 9">
            <a:extLst>
              <a:ext uri="{FF2B5EF4-FFF2-40B4-BE49-F238E27FC236}">
                <a16:creationId xmlns:a16="http://schemas.microsoft.com/office/drawing/2014/main" id="{FE01AFEC-A5FE-4F80-ABC1-E21D30F02C44}"/>
              </a:ext>
            </a:extLst>
          </p:cNvPr>
          <p:cNvSpPr>
            <a:spLocks noGrp="1"/>
          </p:cNvSpPr>
          <p:nvPr>
            <p:ph type="body" sz="quarter" idx="14" hasCustomPrompt="1"/>
          </p:nvPr>
        </p:nvSpPr>
        <p:spPr>
          <a:xfrm>
            <a:off x="479611" y="2121164"/>
            <a:ext cx="6343463" cy="610597"/>
          </a:xfrm>
        </p:spPr>
        <p:txBody>
          <a:bodyPr anchor="b"/>
          <a:lstStyle>
            <a:lvl1pPr marL="0" indent="0">
              <a:buNone/>
              <a:defRPr lang="en-GB" sz="2800" kern="1200" cap="all" baseline="0" dirty="0">
                <a:solidFill>
                  <a:schemeClr val="tx1"/>
                </a:solidFill>
                <a:latin typeface="Poppins SemiBold" panose="02000000000000000000" pitchFamily="2" charset="0"/>
                <a:ea typeface="+mn-ea"/>
                <a:cs typeface="Poppins SemiBold"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marL="0" lvl="0" indent="0" algn="l" defTabSz="914400" rtl="0" eaLnBrk="1" latinLnBrk="0" hangingPunct="1">
              <a:lnSpc>
                <a:spcPct val="105000"/>
              </a:lnSpc>
              <a:spcBef>
                <a:spcPts val="1000"/>
              </a:spcBef>
              <a:buFont typeface="Wingdings 2" panose="05020102010507070707" pitchFamily="18" charset="2"/>
              <a:buNone/>
            </a:pPr>
            <a:r>
              <a:rPr lang="en-US" dirty="0"/>
              <a:t>Member name</a:t>
            </a:r>
            <a:endParaRPr lang="en-GB" dirty="0"/>
          </a:p>
        </p:txBody>
      </p:sp>
    </p:spTree>
    <p:extLst>
      <p:ext uri="{BB962C8B-B14F-4D97-AF65-F5344CB8AC3E}">
        <p14:creationId xmlns:p14="http://schemas.microsoft.com/office/powerpoint/2010/main" val="36097471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or diagram slide b">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24D6E88-7EA6-415C-9C96-337D3DA47F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8810170" y="5457371"/>
            <a:ext cx="3381829" cy="1404797"/>
          </a:xfrm>
          <a:prstGeom prst="rect">
            <a:avLst/>
          </a:prstGeom>
        </p:spPr>
      </p:pic>
      <p:sp>
        <p:nvSpPr>
          <p:cNvPr id="2" name="Title 1">
            <a:extLst>
              <a:ext uri="{FF2B5EF4-FFF2-40B4-BE49-F238E27FC236}">
                <a16:creationId xmlns:a16="http://schemas.microsoft.com/office/drawing/2014/main" id="{086B2ED4-0683-4869-85D3-EDA0DE8E01EB}"/>
              </a:ext>
            </a:extLst>
          </p:cNvPr>
          <p:cNvSpPr>
            <a:spLocks noGrp="1"/>
          </p:cNvSpPr>
          <p:nvPr>
            <p:ph type="title" hasCustomPrompt="1"/>
          </p:nvPr>
        </p:nvSpPr>
        <p:spPr>
          <a:xfrm>
            <a:off x="472917" y="0"/>
            <a:ext cx="8130310" cy="852602"/>
          </a:xfrm>
        </p:spPr>
        <p:txBody>
          <a:bodyPr/>
          <a:lstStyle>
            <a:lvl1pPr>
              <a:defRPr>
                <a:solidFill>
                  <a:schemeClr val="tx1"/>
                </a:solidFill>
              </a:defRPr>
            </a:lvl1pPr>
          </a:lstStyle>
          <a:p>
            <a:r>
              <a:rPr lang="en-GB" dirty="0"/>
              <a:t>Image or diagram slide</a:t>
            </a:r>
          </a:p>
        </p:txBody>
      </p:sp>
      <p:sp>
        <p:nvSpPr>
          <p:cNvPr id="5" name="Slide Number Placeholder 5">
            <a:extLst>
              <a:ext uri="{FF2B5EF4-FFF2-40B4-BE49-F238E27FC236}">
                <a16:creationId xmlns:a16="http://schemas.microsoft.com/office/drawing/2014/main" id="{3EE08843-0DDD-4D7C-9AA4-5F3B9B2EC431}"/>
              </a:ext>
            </a:extLst>
          </p:cNvPr>
          <p:cNvSpPr txBox="1">
            <a:spLocks/>
          </p:cNvSpPr>
          <p:nvPr userDrawn="1"/>
        </p:nvSpPr>
        <p:spPr>
          <a:xfrm>
            <a:off x="11387579"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
        <p:nvSpPr>
          <p:cNvPr id="8" name="Text Placeholder 9">
            <a:extLst>
              <a:ext uri="{FF2B5EF4-FFF2-40B4-BE49-F238E27FC236}">
                <a16:creationId xmlns:a16="http://schemas.microsoft.com/office/drawing/2014/main" id="{56B6317A-B543-419B-B555-D797CE09C44B}"/>
              </a:ext>
            </a:extLst>
          </p:cNvPr>
          <p:cNvSpPr>
            <a:spLocks noGrp="1"/>
          </p:cNvSpPr>
          <p:nvPr>
            <p:ph type="body" sz="quarter" idx="12" hasCustomPrompt="1"/>
          </p:nvPr>
        </p:nvSpPr>
        <p:spPr>
          <a:xfrm>
            <a:off x="463808" y="903074"/>
            <a:ext cx="8139419" cy="729174"/>
          </a:xfrm>
        </p:spPr>
        <p:txBody>
          <a:bodyPr anchor="t"/>
          <a:lstStyle>
            <a:lvl1pPr marL="0" indent="0">
              <a:buNone/>
              <a:defRPr lang="en-GB" sz="2000" kern="1200" dirty="0">
                <a:solidFill>
                  <a:schemeClr val="tx1"/>
                </a:solidFill>
                <a:latin typeface="Poppins Medium" panose="02000000000000000000" pitchFamily="2" charset="0"/>
                <a:ea typeface="+mn-ea"/>
                <a:cs typeface="Poppins Medium"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marL="0" lvl="0" indent="0" algn="l" defTabSz="914400" rtl="0" eaLnBrk="1" latinLnBrk="0" hangingPunct="1">
              <a:lnSpc>
                <a:spcPct val="105000"/>
              </a:lnSpc>
              <a:spcBef>
                <a:spcPts val="1000"/>
              </a:spcBef>
              <a:buFont typeface="Wingdings 2" panose="05020102010507070707" pitchFamily="18" charset="2"/>
              <a:buNone/>
            </a:pPr>
            <a:r>
              <a:rPr lang="en-US" dirty="0"/>
              <a:t>Sub-heading</a:t>
            </a:r>
            <a:endParaRPr lang="en-GB" dirty="0"/>
          </a:p>
        </p:txBody>
      </p:sp>
    </p:spTree>
    <p:extLst>
      <p:ext uri="{BB962C8B-B14F-4D97-AF65-F5344CB8AC3E}">
        <p14:creationId xmlns:p14="http://schemas.microsoft.com/office/powerpoint/2010/main" val="1757952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or diagram slide c">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5944F0F-F605-4EB8-9C41-9DE6EEA4E25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9695542" y="4064000"/>
            <a:ext cx="2496457" cy="2799147"/>
          </a:xfrm>
          <a:prstGeom prst="rect">
            <a:avLst/>
          </a:prstGeom>
        </p:spPr>
      </p:pic>
      <p:sp>
        <p:nvSpPr>
          <p:cNvPr id="2" name="Title 1">
            <a:extLst>
              <a:ext uri="{FF2B5EF4-FFF2-40B4-BE49-F238E27FC236}">
                <a16:creationId xmlns:a16="http://schemas.microsoft.com/office/drawing/2014/main" id="{086B2ED4-0683-4869-85D3-EDA0DE8E01EB}"/>
              </a:ext>
            </a:extLst>
          </p:cNvPr>
          <p:cNvSpPr>
            <a:spLocks noGrp="1"/>
          </p:cNvSpPr>
          <p:nvPr>
            <p:ph type="title" hasCustomPrompt="1"/>
          </p:nvPr>
        </p:nvSpPr>
        <p:spPr>
          <a:xfrm>
            <a:off x="472917" y="3901"/>
            <a:ext cx="8159083" cy="852602"/>
          </a:xfrm>
        </p:spPr>
        <p:txBody>
          <a:bodyPr/>
          <a:lstStyle>
            <a:lvl1pPr>
              <a:defRPr>
                <a:solidFill>
                  <a:schemeClr val="tx1"/>
                </a:solidFill>
              </a:defRPr>
            </a:lvl1pPr>
          </a:lstStyle>
          <a:p>
            <a:r>
              <a:rPr lang="en-GB" dirty="0"/>
              <a:t>Image or diagram slide</a:t>
            </a:r>
          </a:p>
        </p:txBody>
      </p:sp>
      <p:sp>
        <p:nvSpPr>
          <p:cNvPr id="5" name="Slide Number Placeholder 5">
            <a:extLst>
              <a:ext uri="{FF2B5EF4-FFF2-40B4-BE49-F238E27FC236}">
                <a16:creationId xmlns:a16="http://schemas.microsoft.com/office/drawing/2014/main" id="{3EE08843-0DDD-4D7C-9AA4-5F3B9B2EC431}"/>
              </a:ext>
            </a:extLst>
          </p:cNvPr>
          <p:cNvSpPr txBox="1">
            <a:spLocks/>
          </p:cNvSpPr>
          <p:nvPr userDrawn="1"/>
        </p:nvSpPr>
        <p:spPr>
          <a:xfrm>
            <a:off x="11387579"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
        <p:nvSpPr>
          <p:cNvPr id="6" name="Text Placeholder 9">
            <a:extLst>
              <a:ext uri="{FF2B5EF4-FFF2-40B4-BE49-F238E27FC236}">
                <a16:creationId xmlns:a16="http://schemas.microsoft.com/office/drawing/2014/main" id="{3C1E292A-4F87-4AD1-A86C-22D64536E440}"/>
              </a:ext>
            </a:extLst>
          </p:cNvPr>
          <p:cNvSpPr>
            <a:spLocks noGrp="1"/>
          </p:cNvSpPr>
          <p:nvPr>
            <p:ph type="body" sz="quarter" idx="12" hasCustomPrompt="1"/>
          </p:nvPr>
        </p:nvSpPr>
        <p:spPr>
          <a:xfrm>
            <a:off x="463809" y="903074"/>
            <a:ext cx="8159082" cy="729174"/>
          </a:xfrm>
        </p:spPr>
        <p:txBody>
          <a:bodyPr anchor="t"/>
          <a:lstStyle>
            <a:lvl1pPr marL="0" indent="0">
              <a:buNone/>
              <a:defRPr lang="en-GB" sz="2000" kern="1200" dirty="0">
                <a:solidFill>
                  <a:schemeClr val="tx1"/>
                </a:solidFill>
                <a:latin typeface="Poppins Medium" panose="02000000000000000000" pitchFamily="2" charset="0"/>
                <a:ea typeface="+mn-ea"/>
                <a:cs typeface="Poppins Medium"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marL="0" lvl="0" indent="0" algn="l" defTabSz="914400" rtl="0" eaLnBrk="1" latinLnBrk="0" hangingPunct="1">
              <a:lnSpc>
                <a:spcPct val="105000"/>
              </a:lnSpc>
              <a:spcBef>
                <a:spcPts val="1000"/>
              </a:spcBef>
              <a:buFont typeface="Wingdings 2" panose="05020102010507070707" pitchFamily="18" charset="2"/>
              <a:buNone/>
            </a:pPr>
            <a:r>
              <a:rPr lang="en-US" dirty="0"/>
              <a:t>Sub-heading</a:t>
            </a:r>
            <a:endParaRPr lang="en-GB" dirty="0"/>
          </a:p>
        </p:txBody>
      </p:sp>
    </p:spTree>
    <p:extLst>
      <p:ext uri="{BB962C8B-B14F-4D97-AF65-F5344CB8AC3E}">
        <p14:creationId xmlns:p14="http://schemas.microsoft.com/office/powerpoint/2010/main" val="24359625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2BDE0A88-1698-4357-8180-2BCB9EA8EFE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384800" y="812800"/>
            <a:ext cx="6807200" cy="6049368"/>
          </a:xfrm>
          <a:prstGeom prst="rect">
            <a:avLst/>
          </a:prstGeom>
        </p:spPr>
      </p:pic>
      <p:sp>
        <p:nvSpPr>
          <p:cNvPr id="3" name="Content Placeholder 2">
            <a:extLst>
              <a:ext uri="{FF2B5EF4-FFF2-40B4-BE49-F238E27FC236}">
                <a16:creationId xmlns:a16="http://schemas.microsoft.com/office/drawing/2014/main" id="{554F0A75-3481-44BF-B53C-CF96990D8914}"/>
              </a:ext>
            </a:extLst>
          </p:cNvPr>
          <p:cNvSpPr>
            <a:spLocks noGrp="1"/>
          </p:cNvSpPr>
          <p:nvPr>
            <p:ph idx="1" hasCustomPrompt="1"/>
          </p:nvPr>
        </p:nvSpPr>
        <p:spPr>
          <a:xfrm>
            <a:off x="472917" y="2922062"/>
            <a:ext cx="3467965" cy="266350"/>
          </a:xfrm>
        </p:spPr>
        <p:txBody>
          <a:bodyPr/>
          <a:lstStyle>
            <a:lvl1pPr marL="0" indent="0">
              <a:buNone/>
              <a:defRPr sz="1500">
                <a:solidFill>
                  <a:schemeClr val="tx1"/>
                </a:solidFill>
              </a:defRPr>
            </a:lvl1pPr>
            <a:lvl2pPr marL="246063" indent="0">
              <a:buNone/>
              <a:defRPr>
                <a:solidFill>
                  <a:schemeClr val="tx1"/>
                </a:solidFill>
              </a:defRPr>
            </a:lvl2pPr>
            <a:lvl3pPr marL="517525" indent="0">
              <a:buNone/>
              <a:defRPr>
                <a:solidFill>
                  <a:schemeClr val="tx1"/>
                </a:solidFill>
              </a:defRPr>
            </a:lvl3pPr>
            <a:lvl4pPr marL="763588" indent="0">
              <a:buNone/>
              <a:defRPr>
                <a:solidFill>
                  <a:schemeClr val="tx1"/>
                </a:solidFill>
              </a:defRPr>
            </a:lvl4pPr>
            <a:lvl5pPr marL="1057275" indent="0">
              <a:buNone/>
              <a:defRPr>
                <a:solidFill>
                  <a:schemeClr val="tx1"/>
                </a:solidFill>
              </a:defRPr>
            </a:lvl5pPr>
          </a:lstStyle>
          <a:p>
            <a:pPr lvl="0"/>
            <a:r>
              <a:rPr lang="en-US" dirty="0"/>
              <a:t>Name Titles</a:t>
            </a:r>
            <a:endParaRPr lang="en-GB" dirty="0"/>
          </a:p>
        </p:txBody>
      </p:sp>
      <p:sp>
        <p:nvSpPr>
          <p:cNvPr id="10" name="Content Placeholder 2">
            <a:extLst>
              <a:ext uri="{FF2B5EF4-FFF2-40B4-BE49-F238E27FC236}">
                <a16:creationId xmlns:a16="http://schemas.microsoft.com/office/drawing/2014/main" id="{039A902B-6F15-471D-AC28-9D9A247F7607}"/>
              </a:ext>
            </a:extLst>
          </p:cNvPr>
          <p:cNvSpPr>
            <a:spLocks noGrp="1"/>
          </p:cNvSpPr>
          <p:nvPr>
            <p:ph idx="12" hasCustomPrompt="1"/>
          </p:nvPr>
        </p:nvSpPr>
        <p:spPr>
          <a:xfrm>
            <a:off x="472917" y="3215577"/>
            <a:ext cx="3467965" cy="266350"/>
          </a:xfrm>
        </p:spPr>
        <p:txBody>
          <a:bodyPr/>
          <a:lstStyle>
            <a:lvl1pPr marL="0" indent="0">
              <a:buNone/>
              <a:defRPr sz="1500">
                <a:solidFill>
                  <a:schemeClr val="tx1"/>
                </a:solidFill>
                <a:latin typeface="Poppins Light" panose="02000000000000000000" pitchFamily="2" charset="0"/>
                <a:cs typeface="Poppins Light" panose="02000000000000000000" pitchFamily="2" charset="0"/>
              </a:defRPr>
            </a:lvl1pPr>
            <a:lvl2pPr marL="246063" indent="0">
              <a:buNone/>
              <a:defRPr>
                <a:solidFill>
                  <a:schemeClr val="tx1"/>
                </a:solidFill>
              </a:defRPr>
            </a:lvl2pPr>
            <a:lvl3pPr marL="517525" indent="0">
              <a:buNone/>
              <a:defRPr>
                <a:solidFill>
                  <a:schemeClr val="tx1"/>
                </a:solidFill>
              </a:defRPr>
            </a:lvl3pPr>
            <a:lvl4pPr marL="763588" indent="0">
              <a:buNone/>
              <a:defRPr>
                <a:solidFill>
                  <a:schemeClr val="tx1"/>
                </a:solidFill>
              </a:defRPr>
            </a:lvl4pPr>
            <a:lvl5pPr marL="1057275" indent="0">
              <a:buNone/>
              <a:defRPr>
                <a:solidFill>
                  <a:schemeClr val="tx1"/>
                </a:solidFill>
              </a:defRPr>
            </a:lvl5pPr>
          </a:lstStyle>
          <a:p>
            <a:pPr lvl="0"/>
            <a:r>
              <a:rPr lang="en-US" dirty="0"/>
              <a:t>Position</a:t>
            </a:r>
            <a:endParaRPr lang="en-GB" dirty="0"/>
          </a:p>
        </p:txBody>
      </p:sp>
      <p:sp>
        <p:nvSpPr>
          <p:cNvPr id="13" name="Content Placeholder 2">
            <a:extLst>
              <a:ext uri="{FF2B5EF4-FFF2-40B4-BE49-F238E27FC236}">
                <a16:creationId xmlns:a16="http://schemas.microsoft.com/office/drawing/2014/main" id="{293907FB-CEAC-4CCB-871B-332DB1373F35}"/>
              </a:ext>
            </a:extLst>
          </p:cNvPr>
          <p:cNvSpPr>
            <a:spLocks noGrp="1"/>
          </p:cNvSpPr>
          <p:nvPr>
            <p:ph idx="13" hasCustomPrompt="1"/>
          </p:nvPr>
        </p:nvSpPr>
        <p:spPr>
          <a:xfrm>
            <a:off x="687604" y="3505807"/>
            <a:ext cx="3253278" cy="266350"/>
          </a:xfrm>
        </p:spPr>
        <p:txBody>
          <a:bodyPr/>
          <a:lstStyle>
            <a:lvl1pPr marL="0" indent="0">
              <a:buNone/>
              <a:defRPr lang="en-GB" sz="1500" kern="1200" dirty="0">
                <a:solidFill>
                  <a:schemeClr val="tx1"/>
                </a:solidFill>
                <a:latin typeface="Poppins Light" panose="02000000000000000000" pitchFamily="2" charset="0"/>
                <a:ea typeface="+mn-ea"/>
                <a:cs typeface="Poppins Light" panose="02000000000000000000" pitchFamily="2" charset="0"/>
              </a:defRPr>
            </a:lvl1pPr>
            <a:lvl2pPr marL="246063" indent="0">
              <a:buNone/>
              <a:defRPr>
                <a:solidFill>
                  <a:schemeClr val="tx1"/>
                </a:solidFill>
              </a:defRPr>
            </a:lvl2pPr>
            <a:lvl3pPr marL="517525" indent="0">
              <a:buNone/>
              <a:defRPr>
                <a:solidFill>
                  <a:schemeClr val="tx1"/>
                </a:solidFill>
              </a:defRPr>
            </a:lvl3pPr>
            <a:lvl4pPr marL="763588" indent="0">
              <a:buNone/>
              <a:defRPr>
                <a:solidFill>
                  <a:schemeClr val="tx1"/>
                </a:solidFill>
              </a:defRPr>
            </a:lvl4pPr>
            <a:lvl5pPr marL="1057275" indent="0">
              <a:buNone/>
              <a:defRPr>
                <a:solidFill>
                  <a:schemeClr val="tx1"/>
                </a:solidFill>
              </a:defRPr>
            </a:lvl5pPr>
          </a:lstStyle>
          <a:p>
            <a:pPr lvl="0"/>
            <a:r>
              <a:rPr lang="en-US" dirty="0"/>
              <a:t>first.surname@zemo.org.uk</a:t>
            </a:r>
            <a:endParaRPr lang="en-GB" dirty="0"/>
          </a:p>
        </p:txBody>
      </p:sp>
      <p:sp>
        <p:nvSpPr>
          <p:cNvPr id="14" name="Content Placeholder 2">
            <a:extLst>
              <a:ext uri="{FF2B5EF4-FFF2-40B4-BE49-F238E27FC236}">
                <a16:creationId xmlns:a16="http://schemas.microsoft.com/office/drawing/2014/main" id="{75372A1C-665D-4073-968F-27A9C3EBCFB6}"/>
              </a:ext>
            </a:extLst>
          </p:cNvPr>
          <p:cNvSpPr>
            <a:spLocks noGrp="1"/>
          </p:cNvSpPr>
          <p:nvPr>
            <p:ph idx="14" hasCustomPrompt="1"/>
          </p:nvPr>
        </p:nvSpPr>
        <p:spPr>
          <a:xfrm>
            <a:off x="687604" y="3786916"/>
            <a:ext cx="2992452" cy="266350"/>
          </a:xfrm>
        </p:spPr>
        <p:txBody>
          <a:bodyPr/>
          <a:lstStyle>
            <a:lvl1pPr marL="0" indent="0">
              <a:buNone/>
              <a:defRPr sz="1500">
                <a:solidFill>
                  <a:schemeClr val="tx1"/>
                </a:solidFill>
                <a:latin typeface="Poppins Light" panose="02000000000000000000" pitchFamily="2" charset="0"/>
                <a:cs typeface="Poppins Light" panose="02000000000000000000" pitchFamily="2" charset="0"/>
              </a:defRPr>
            </a:lvl1pPr>
            <a:lvl2pPr marL="246063" indent="0">
              <a:buNone/>
              <a:defRPr>
                <a:solidFill>
                  <a:schemeClr val="tx1"/>
                </a:solidFill>
              </a:defRPr>
            </a:lvl2pPr>
            <a:lvl3pPr marL="517525" indent="0">
              <a:buNone/>
              <a:defRPr>
                <a:solidFill>
                  <a:schemeClr val="tx1"/>
                </a:solidFill>
              </a:defRPr>
            </a:lvl3pPr>
            <a:lvl4pPr marL="763588" indent="0">
              <a:buNone/>
              <a:defRPr>
                <a:solidFill>
                  <a:schemeClr val="tx1"/>
                </a:solidFill>
              </a:defRPr>
            </a:lvl4pPr>
            <a:lvl5pPr marL="1057275" indent="0">
              <a:buNone/>
              <a:defRPr>
                <a:solidFill>
                  <a:schemeClr val="tx1"/>
                </a:solidFill>
              </a:defRPr>
            </a:lvl5pPr>
          </a:lstStyle>
          <a:p>
            <a:pPr lvl="0"/>
            <a:r>
              <a:rPr lang="en-US" dirty="0"/>
              <a:t>020 7304 XXXX</a:t>
            </a:r>
            <a:endParaRPr lang="en-GB" dirty="0"/>
          </a:p>
        </p:txBody>
      </p:sp>
      <p:sp>
        <p:nvSpPr>
          <p:cNvPr id="6" name="TextBox 5">
            <a:extLst>
              <a:ext uri="{FF2B5EF4-FFF2-40B4-BE49-F238E27FC236}">
                <a16:creationId xmlns:a16="http://schemas.microsoft.com/office/drawing/2014/main" id="{FDD0D16A-39D6-4862-A374-32FC3DB7D4A1}"/>
              </a:ext>
            </a:extLst>
          </p:cNvPr>
          <p:cNvSpPr txBox="1"/>
          <p:nvPr userDrawn="1"/>
        </p:nvSpPr>
        <p:spPr>
          <a:xfrm>
            <a:off x="368515" y="3508673"/>
            <a:ext cx="383557" cy="323165"/>
          </a:xfrm>
          <a:prstGeom prst="rect">
            <a:avLst/>
          </a:prstGeom>
          <a:noFill/>
        </p:spPr>
        <p:txBody>
          <a:bodyPr wrap="square" rtlCol="0">
            <a:spAutoFit/>
          </a:bodyPr>
          <a:lstStyle/>
          <a:p>
            <a:r>
              <a:rPr lang="en-GB" sz="1500" kern="1200" dirty="0">
                <a:solidFill>
                  <a:schemeClr val="tx1"/>
                </a:solidFill>
                <a:latin typeface="Poppins Medium" panose="02000000000000000000" pitchFamily="2" charset="0"/>
                <a:ea typeface="+mn-ea"/>
                <a:cs typeface="Poppins Medium" panose="02000000000000000000" pitchFamily="2" charset="0"/>
              </a:rPr>
              <a:t>E:</a:t>
            </a:r>
          </a:p>
        </p:txBody>
      </p:sp>
      <p:sp>
        <p:nvSpPr>
          <p:cNvPr id="15" name="TextBox 14">
            <a:extLst>
              <a:ext uri="{FF2B5EF4-FFF2-40B4-BE49-F238E27FC236}">
                <a16:creationId xmlns:a16="http://schemas.microsoft.com/office/drawing/2014/main" id="{4F558BDA-16EE-4AA2-AE5F-36D1341D877E}"/>
              </a:ext>
            </a:extLst>
          </p:cNvPr>
          <p:cNvSpPr txBox="1"/>
          <p:nvPr userDrawn="1"/>
        </p:nvSpPr>
        <p:spPr>
          <a:xfrm>
            <a:off x="371455" y="3764533"/>
            <a:ext cx="383557" cy="323165"/>
          </a:xfrm>
          <a:prstGeom prst="rect">
            <a:avLst/>
          </a:prstGeom>
          <a:noFill/>
        </p:spPr>
        <p:txBody>
          <a:bodyPr wrap="square" rtlCol="0">
            <a:spAutoFit/>
          </a:bodyPr>
          <a:lstStyle/>
          <a:p>
            <a:r>
              <a:rPr lang="en-GB" sz="1500" kern="1200" dirty="0">
                <a:solidFill>
                  <a:schemeClr val="tx1"/>
                </a:solidFill>
                <a:latin typeface="Poppins Medium" panose="02000000000000000000" pitchFamily="2" charset="0"/>
                <a:ea typeface="+mn-ea"/>
                <a:cs typeface="Poppins Medium" panose="02000000000000000000" pitchFamily="2" charset="0"/>
              </a:rPr>
              <a:t>T:</a:t>
            </a:r>
          </a:p>
        </p:txBody>
      </p:sp>
      <p:sp>
        <p:nvSpPr>
          <p:cNvPr id="16" name="Content Placeholder 2">
            <a:extLst>
              <a:ext uri="{FF2B5EF4-FFF2-40B4-BE49-F238E27FC236}">
                <a16:creationId xmlns:a16="http://schemas.microsoft.com/office/drawing/2014/main" id="{D29B91F5-A2AF-4954-8C6C-D7AA65699259}"/>
              </a:ext>
            </a:extLst>
          </p:cNvPr>
          <p:cNvSpPr>
            <a:spLocks noGrp="1"/>
          </p:cNvSpPr>
          <p:nvPr>
            <p:ph idx="15" hasCustomPrompt="1"/>
          </p:nvPr>
        </p:nvSpPr>
        <p:spPr>
          <a:xfrm>
            <a:off x="472917" y="4561820"/>
            <a:ext cx="3467965" cy="266350"/>
          </a:xfrm>
        </p:spPr>
        <p:txBody>
          <a:bodyPr/>
          <a:lstStyle>
            <a:lvl1pPr marL="0" indent="0">
              <a:buNone/>
              <a:defRPr sz="1500">
                <a:solidFill>
                  <a:schemeClr val="tx1"/>
                </a:solidFill>
              </a:defRPr>
            </a:lvl1pPr>
            <a:lvl2pPr marL="246063" indent="0">
              <a:buNone/>
              <a:defRPr>
                <a:solidFill>
                  <a:schemeClr val="tx1"/>
                </a:solidFill>
              </a:defRPr>
            </a:lvl2pPr>
            <a:lvl3pPr marL="517525" indent="0">
              <a:buNone/>
              <a:defRPr>
                <a:solidFill>
                  <a:schemeClr val="tx1"/>
                </a:solidFill>
              </a:defRPr>
            </a:lvl3pPr>
            <a:lvl4pPr marL="763588" indent="0">
              <a:buNone/>
              <a:defRPr>
                <a:solidFill>
                  <a:schemeClr val="tx1"/>
                </a:solidFill>
              </a:defRPr>
            </a:lvl4pPr>
            <a:lvl5pPr marL="1057275" indent="0">
              <a:buNone/>
              <a:defRPr>
                <a:solidFill>
                  <a:schemeClr val="tx1"/>
                </a:solidFill>
              </a:defRPr>
            </a:lvl5pPr>
          </a:lstStyle>
          <a:p>
            <a:pPr lvl="0"/>
            <a:r>
              <a:rPr lang="en-US" dirty="0"/>
              <a:t>Name Titles</a:t>
            </a:r>
            <a:endParaRPr lang="en-GB" dirty="0"/>
          </a:p>
        </p:txBody>
      </p:sp>
      <p:sp>
        <p:nvSpPr>
          <p:cNvPr id="17" name="Content Placeholder 2">
            <a:extLst>
              <a:ext uri="{FF2B5EF4-FFF2-40B4-BE49-F238E27FC236}">
                <a16:creationId xmlns:a16="http://schemas.microsoft.com/office/drawing/2014/main" id="{B5D1F643-1457-4B44-8F5C-776486B075A4}"/>
              </a:ext>
            </a:extLst>
          </p:cNvPr>
          <p:cNvSpPr>
            <a:spLocks noGrp="1"/>
          </p:cNvSpPr>
          <p:nvPr>
            <p:ph idx="16" hasCustomPrompt="1"/>
          </p:nvPr>
        </p:nvSpPr>
        <p:spPr>
          <a:xfrm>
            <a:off x="472917" y="4845811"/>
            <a:ext cx="3467965" cy="266350"/>
          </a:xfrm>
        </p:spPr>
        <p:txBody>
          <a:bodyPr/>
          <a:lstStyle>
            <a:lvl1pPr marL="0" indent="0">
              <a:buNone/>
              <a:defRPr sz="1500">
                <a:solidFill>
                  <a:schemeClr val="tx1"/>
                </a:solidFill>
                <a:latin typeface="Poppins Light" panose="02000000000000000000" pitchFamily="2" charset="0"/>
                <a:cs typeface="Poppins Light" panose="02000000000000000000" pitchFamily="2" charset="0"/>
              </a:defRPr>
            </a:lvl1pPr>
            <a:lvl2pPr marL="246063" indent="0">
              <a:buNone/>
              <a:defRPr>
                <a:solidFill>
                  <a:schemeClr val="tx1"/>
                </a:solidFill>
              </a:defRPr>
            </a:lvl2pPr>
            <a:lvl3pPr marL="517525" indent="0">
              <a:buNone/>
              <a:defRPr>
                <a:solidFill>
                  <a:schemeClr val="tx1"/>
                </a:solidFill>
              </a:defRPr>
            </a:lvl3pPr>
            <a:lvl4pPr marL="763588" indent="0">
              <a:buNone/>
              <a:defRPr>
                <a:solidFill>
                  <a:schemeClr val="tx1"/>
                </a:solidFill>
              </a:defRPr>
            </a:lvl4pPr>
            <a:lvl5pPr marL="1057275" indent="0">
              <a:buNone/>
              <a:defRPr>
                <a:solidFill>
                  <a:schemeClr val="tx1"/>
                </a:solidFill>
              </a:defRPr>
            </a:lvl5pPr>
          </a:lstStyle>
          <a:p>
            <a:pPr lvl="0"/>
            <a:r>
              <a:rPr lang="en-US" dirty="0"/>
              <a:t>Position</a:t>
            </a:r>
            <a:endParaRPr lang="en-GB" dirty="0"/>
          </a:p>
        </p:txBody>
      </p:sp>
      <p:sp>
        <p:nvSpPr>
          <p:cNvPr id="18" name="Content Placeholder 2">
            <a:extLst>
              <a:ext uri="{FF2B5EF4-FFF2-40B4-BE49-F238E27FC236}">
                <a16:creationId xmlns:a16="http://schemas.microsoft.com/office/drawing/2014/main" id="{3C0CCBD9-43D1-4A68-B9E7-025D077D8566}"/>
              </a:ext>
            </a:extLst>
          </p:cNvPr>
          <p:cNvSpPr>
            <a:spLocks noGrp="1"/>
          </p:cNvSpPr>
          <p:nvPr>
            <p:ph idx="17" hasCustomPrompt="1"/>
          </p:nvPr>
        </p:nvSpPr>
        <p:spPr>
          <a:xfrm>
            <a:off x="687604" y="5124793"/>
            <a:ext cx="3253278" cy="266350"/>
          </a:xfrm>
        </p:spPr>
        <p:txBody>
          <a:bodyPr/>
          <a:lstStyle>
            <a:lvl1pPr marL="0" indent="0">
              <a:buNone/>
              <a:defRPr sz="1500">
                <a:solidFill>
                  <a:schemeClr val="tx1"/>
                </a:solidFill>
                <a:latin typeface="Poppins Light" panose="02000000000000000000" pitchFamily="2" charset="0"/>
                <a:cs typeface="Poppins Light" panose="02000000000000000000" pitchFamily="2" charset="0"/>
              </a:defRPr>
            </a:lvl1pPr>
            <a:lvl2pPr marL="246063" indent="0">
              <a:buNone/>
              <a:defRPr>
                <a:solidFill>
                  <a:schemeClr val="tx1"/>
                </a:solidFill>
              </a:defRPr>
            </a:lvl2pPr>
            <a:lvl3pPr marL="517525" indent="0">
              <a:buNone/>
              <a:defRPr>
                <a:solidFill>
                  <a:schemeClr val="tx1"/>
                </a:solidFill>
              </a:defRPr>
            </a:lvl3pPr>
            <a:lvl4pPr marL="763588" indent="0">
              <a:buNone/>
              <a:defRPr>
                <a:solidFill>
                  <a:schemeClr val="tx1"/>
                </a:solidFill>
              </a:defRPr>
            </a:lvl4pPr>
            <a:lvl5pPr marL="1057275" indent="0">
              <a:buNone/>
              <a:defRPr>
                <a:solidFill>
                  <a:schemeClr val="tx1"/>
                </a:solidFill>
              </a:defRPr>
            </a:lvl5pPr>
          </a:lstStyle>
          <a:p>
            <a:pPr lvl="0"/>
            <a:r>
              <a:rPr lang="en-US" dirty="0"/>
              <a:t>first.surname@zemo.org.uk</a:t>
            </a:r>
            <a:endParaRPr lang="en-GB" dirty="0"/>
          </a:p>
        </p:txBody>
      </p:sp>
      <p:sp>
        <p:nvSpPr>
          <p:cNvPr id="20" name="TextBox 19">
            <a:extLst>
              <a:ext uri="{FF2B5EF4-FFF2-40B4-BE49-F238E27FC236}">
                <a16:creationId xmlns:a16="http://schemas.microsoft.com/office/drawing/2014/main" id="{DCB3C8EA-C453-4329-8F60-D2CBFEE99243}"/>
              </a:ext>
            </a:extLst>
          </p:cNvPr>
          <p:cNvSpPr txBox="1"/>
          <p:nvPr userDrawn="1"/>
        </p:nvSpPr>
        <p:spPr>
          <a:xfrm>
            <a:off x="368515" y="5133921"/>
            <a:ext cx="383557" cy="323165"/>
          </a:xfrm>
          <a:prstGeom prst="rect">
            <a:avLst/>
          </a:prstGeom>
          <a:noFill/>
        </p:spPr>
        <p:txBody>
          <a:bodyPr wrap="square" rtlCol="0">
            <a:spAutoFit/>
          </a:bodyPr>
          <a:lstStyle/>
          <a:p>
            <a:r>
              <a:rPr lang="en-GB" sz="1500" kern="1200" dirty="0">
                <a:solidFill>
                  <a:schemeClr val="tx1"/>
                </a:solidFill>
                <a:latin typeface="Poppins Medium" panose="02000000000000000000" pitchFamily="2" charset="0"/>
                <a:ea typeface="+mn-ea"/>
                <a:cs typeface="Poppins Medium" panose="02000000000000000000" pitchFamily="2" charset="0"/>
              </a:rPr>
              <a:t>E:</a:t>
            </a:r>
          </a:p>
        </p:txBody>
      </p:sp>
      <p:sp>
        <p:nvSpPr>
          <p:cNvPr id="21" name="TextBox 20">
            <a:extLst>
              <a:ext uri="{FF2B5EF4-FFF2-40B4-BE49-F238E27FC236}">
                <a16:creationId xmlns:a16="http://schemas.microsoft.com/office/drawing/2014/main" id="{28C39E39-CE6A-4EB0-A3AD-04195024B525}"/>
              </a:ext>
            </a:extLst>
          </p:cNvPr>
          <p:cNvSpPr txBox="1"/>
          <p:nvPr userDrawn="1"/>
        </p:nvSpPr>
        <p:spPr>
          <a:xfrm>
            <a:off x="371455" y="5399613"/>
            <a:ext cx="383557" cy="323165"/>
          </a:xfrm>
          <a:prstGeom prst="rect">
            <a:avLst/>
          </a:prstGeom>
          <a:noFill/>
        </p:spPr>
        <p:txBody>
          <a:bodyPr wrap="square" rtlCol="0">
            <a:spAutoFit/>
          </a:bodyPr>
          <a:lstStyle/>
          <a:p>
            <a:r>
              <a:rPr lang="en-GB" sz="1500" kern="1200" dirty="0">
                <a:solidFill>
                  <a:schemeClr val="tx1"/>
                </a:solidFill>
                <a:latin typeface="Poppins Medium" panose="02000000000000000000" pitchFamily="2" charset="0"/>
                <a:ea typeface="+mn-ea"/>
                <a:cs typeface="Poppins Medium" panose="02000000000000000000" pitchFamily="2" charset="0"/>
              </a:rPr>
              <a:t>T:</a:t>
            </a:r>
          </a:p>
        </p:txBody>
      </p:sp>
      <p:sp>
        <p:nvSpPr>
          <p:cNvPr id="22" name="TextBox 21">
            <a:extLst>
              <a:ext uri="{FF2B5EF4-FFF2-40B4-BE49-F238E27FC236}">
                <a16:creationId xmlns:a16="http://schemas.microsoft.com/office/drawing/2014/main" id="{036BC14D-57BC-4927-9399-1E5ED5C057AE}"/>
              </a:ext>
            </a:extLst>
          </p:cNvPr>
          <p:cNvSpPr txBox="1"/>
          <p:nvPr userDrawn="1"/>
        </p:nvSpPr>
        <p:spPr>
          <a:xfrm>
            <a:off x="368515" y="4198952"/>
            <a:ext cx="5476025" cy="338554"/>
          </a:xfrm>
          <a:prstGeom prst="rect">
            <a:avLst/>
          </a:prstGeom>
          <a:noFill/>
        </p:spPr>
        <p:txBody>
          <a:bodyPr wrap="square" rtlCol="0">
            <a:spAutoFit/>
          </a:bodyPr>
          <a:lstStyle/>
          <a:p>
            <a:r>
              <a:rPr lang="en-GB" sz="1600" kern="1200" dirty="0">
                <a:solidFill>
                  <a:schemeClr val="tx1"/>
                </a:solidFill>
                <a:latin typeface="Poppins Medium" panose="02000000000000000000" pitchFamily="2" charset="0"/>
                <a:ea typeface="+mn-ea"/>
                <a:cs typeface="Poppins Medium" panose="02000000000000000000" pitchFamily="2" charset="0"/>
              </a:rPr>
              <a:t>Interested in joining the Partnership?</a:t>
            </a:r>
          </a:p>
        </p:txBody>
      </p:sp>
      <p:sp>
        <p:nvSpPr>
          <p:cNvPr id="24" name="TextBox 23">
            <a:extLst>
              <a:ext uri="{FF2B5EF4-FFF2-40B4-BE49-F238E27FC236}">
                <a16:creationId xmlns:a16="http://schemas.microsoft.com/office/drawing/2014/main" id="{74178BBD-95D4-49F6-8C10-1287AF7E79EC}"/>
              </a:ext>
            </a:extLst>
          </p:cNvPr>
          <p:cNvSpPr txBox="1"/>
          <p:nvPr userDrawn="1"/>
        </p:nvSpPr>
        <p:spPr>
          <a:xfrm>
            <a:off x="373710" y="6051220"/>
            <a:ext cx="5211749" cy="496161"/>
          </a:xfrm>
          <a:prstGeom prst="rect">
            <a:avLst/>
          </a:prstGeom>
          <a:noFill/>
        </p:spPr>
        <p:txBody>
          <a:bodyPr wrap="square" rtlCol="0">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GB" sz="800" dirty="0" err="1">
                <a:solidFill>
                  <a:srgbClr val="000000"/>
                </a:solidFill>
                <a:latin typeface="Poppins SemiBold" panose="02000000000000000000" pitchFamily="2" charset="0"/>
                <a:cs typeface="Poppins SemiBold" panose="02000000000000000000" pitchFamily="2" charset="0"/>
              </a:rPr>
              <a:t>Zemo</a:t>
            </a:r>
            <a:r>
              <a:rPr lang="en-GB" sz="800" dirty="0">
                <a:solidFill>
                  <a:srgbClr val="000000"/>
                </a:solidFill>
                <a:latin typeface="Poppins SemiBold" panose="02000000000000000000" pitchFamily="2" charset="0"/>
                <a:cs typeface="Poppins SemiBold" panose="02000000000000000000" pitchFamily="2" charset="0"/>
              </a:rPr>
              <a:t> Partnership</a:t>
            </a:r>
            <a:r>
              <a:rPr lang="en-GB" sz="800" dirty="0">
                <a:solidFill>
                  <a:srgbClr val="000000"/>
                </a:solidFill>
                <a:latin typeface="Poppins" panose="02000000000000000000" pitchFamily="2" charset="0"/>
                <a:cs typeface="Poppins" panose="02000000000000000000" pitchFamily="2" charset="0"/>
              </a:rPr>
              <a:t>, 3 Birdcage Walk, London SW1H 9JJ</a:t>
            </a:r>
            <a:br>
              <a:rPr lang="en-GB" sz="800" dirty="0">
                <a:solidFill>
                  <a:srgbClr val="000000"/>
                </a:solidFill>
                <a:latin typeface="Poppins" panose="02000000000000000000" pitchFamily="2" charset="0"/>
                <a:cs typeface="Poppins" panose="02000000000000000000" pitchFamily="2" charset="0"/>
              </a:rPr>
            </a:br>
            <a:r>
              <a:rPr lang="en-GB" sz="800" dirty="0">
                <a:solidFill>
                  <a:srgbClr val="000000"/>
                </a:solidFill>
                <a:latin typeface="Poppins" panose="02000000000000000000" pitchFamily="2" charset="0"/>
                <a:cs typeface="Poppins" panose="02000000000000000000" pitchFamily="2" charset="0"/>
              </a:rPr>
              <a:t>T: +44 (0)20 7304 6880  |  E</a:t>
            </a:r>
            <a:r>
              <a:rPr lang="en-GB" sz="800" kern="1200" dirty="0">
                <a:solidFill>
                  <a:srgbClr val="000000"/>
                </a:solidFill>
                <a:latin typeface="Poppins" panose="02000000000000000000" pitchFamily="2" charset="0"/>
                <a:ea typeface="+mn-ea"/>
                <a:cs typeface="Poppins" panose="02000000000000000000" pitchFamily="2" charset="0"/>
              </a:rPr>
              <a:t>: </a:t>
            </a:r>
            <a:r>
              <a:rPr lang="en-GB" sz="800" kern="1200" dirty="0">
                <a:solidFill>
                  <a:srgbClr val="000000"/>
                </a:solidFill>
                <a:latin typeface="Poppins" panose="02000000000000000000" pitchFamily="2" charset="0"/>
                <a:ea typeface="+mn-ea"/>
                <a:cs typeface="Poppins" panose="02000000000000000000" pitchFamily="2" charset="0"/>
                <a:hlinkClick r:id="rId3">
                  <a:extLst>
                    <a:ext uri="{A12FA001-AC4F-418D-AE19-62706E023703}">
                      <ahyp:hlinkClr xmlns:ahyp="http://schemas.microsoft.com/office/drawing/2018/hyperlinkcolor" val="tx"/>
                    </a:ext>
                  </a:extLst>
                </a:hlinkClick>
              </a:rPr>
              <a:t>hello@zemo.org.uk</a:t>
            </a:r>
            <a:r>
              <a:rPr lang="en-GB" sz="800" kern="1200" dirty="0">
                <a:solidFill>
                  <a:srgbClr val="000000"/>
                </a:solidFill>
                <a:latin typeface="Poppins" panose="02000000000000000000" pitchFamily="2" charset="0"/>
                <a:ea typeface="+mn-ea"/>
                <a:cs typeface="Poppins" panose="02000000000000000000" pitchFamily="2" charset="0"/>
              </a:rPr>
              <a:t>         @Zemo_org  |  </a:t>
            </a:r>
            <a:r>
              <a:rPr lang="en-GB" sz="800" kern="1200" dirty="0">
                <a:solidFill>
                  <a:srgbClr val="000000"/>
                </a:solidFill>
                <a:latin typeface="Poppins" panose="02000000000000000000" pitchFamily="2" charset="0"/>
                <a:ea typeface="+mn-ea"/>
                <a:cs typeface="Poppins" panose="02000000000000000000" pitchFamily="2" charset="0"/>
                <a:hlinkClick r:id="rId4">
                  <a:extLst>
                    <a:ext uri="{A12FA001-AC4F-418D-AE19-62706E023703}">
                      <ahyp:hlinkClr xmlns:ahyp="http://schemas.microsoft.com/office/drawing/2018/hyperlinkcolor" val="tx"/>
                    </a:ext>
                  </a:extLst>
                </a:hlinkClick>
              </a:rPr>
              <a:t>www.zemo.org.uk</a:t>
            </a:r>
            <a:r>
              <a:rPr lang="en-GB" sz="800" kern="1200" dirty="0">
                <a:solidFill>
                  <a:srgbClr val="000000"/>
                </a:solidFill>
                <a:latin typeface="Poppins" panose="02000000000000000000" pitchFamily="2" charset="0"/>
                <a:ea typeface="+mn-ea"/>
                <a:cs typeface="Poppins" panose="02000000000000000000" pitchFamily="2" charset="0"/>
              </a:rPr>
              <a:t> </a:t>
            </a:r>
          </a:p>
          <a:p>
            <a:endParaRPr lang="en-GB" sz="800" dirty="0">
              <a:solidFill>
                <a:srgbClr val="000000"/>
              </a:solidFill>
              <a:latin typeface="Poppins" panose="02000000000000000000" pitchFamily="2" charset="0"/>
              <a:cs typeface="Poppins" panose="02000000000000000000" pitchFamily="2" charset="0"/>
            </a:endParaRPr>
          </a:p>
        </p:txBody>
      </p:sp>
      <p:sp>
        <p:nvSpPr>
          <p:cNvPr id="29" name="TextBox 28">
            <a:extLst>
              <a:ext uri="{FF2B5EF4-FFF2-40B4-BE49-F238E27FC236}">
                <a16:creationId xmlns:a16="http://schemas.microsoft.com/office/drawing/2014/main" id="{28D6666C-0773-41EF-9C06-920F802C092A}"/>
              </a:ext>
            </a:extLst>
          </p:cNvPr>
          <p:cNvSpPr txBox="1"/>
          <p:nvPr userDrawn="1"/>
        </p:nvSpPr>
        <p:spPr>
          <a:xfrm>
            <a:off x="373503" y="2566533"/>
            <a:ext cx="5476025" cy="338554"/>
          </a:xfrm>
          <a:prstGeom prst="rect">
            <a:avLst/>
          </a:prstGeom>
          <a:noFill/>
        </p:spPr>
        <p:txBody>
          <a:bodyPr wrap="square" rtlCol="0">
            <a:spAutoFit/>
          </a:bodyPr>
          <a:lstStyle/>
          <a:p>
            <a:r>
              <a:rPr lang="en-GB" sz="1600" kern="1200" dirty="0">
                <a:solidFill>
                  <a:schemeClr val="tx1"/>
                </a:solidFill>
                <a:latin typeface="Poppins Medium" panose="02000000000000000000" pitchFamily="2" charset="0"/>
                <a:ea typeface="+mn-ea"/>
                <a:cs typeface="Poppins Medium" panose="02000000000000000000" pitchFamily="2" charset="0"/>
              </a:rPr>
              <a:t>Any questions? Please get in touch</a:t>
            </a:r>
          </a:p>
        </p:txBody>
      </p:sp>
      <p:sp>
        <p:nvSpPr>
          <p:cNvPr id="27" name="TextBox 26">
            <a:extLst>
              <a:ext uri="{FF2B5EF4-FFF2-40B4-BE49-F238E27FC236}">
                <a16:creationId xmlns:a16="http://schemas.microsoft.com/office/drawing/2014/main" id="{5E1EAD94-748A-4668-BE73-4409D62EB073}"/>
              </a:ext>
            </a:extLst>
          </p:cNvPr>
          <p:cNvSpPr txBox="1"/>
          <p:nvPr userDrawn="1"/>
        </p:nvSpPr>
        <p:spPr>
          <a:xfrm>
            <a:off x="373503" y="2210933"/>
            <a:ext cx="5476025" cy="338554"/>
          </a:xfrm>
          <a:prstGeom prst="rect">
            <a:avLst/>
          </a:prstGeom>
          <a:noFill/>
        </p:spPr>
        <p:txBody>
          <a:bodyPr wrap="square" rtlCol="0">
            <a:spAutoFit/>
          </a:bodyPr>
          <a:lstStyle/>
          <a:p>
            <a:r>
              <a:rPr lang="en-GB" sz="1600" kern="1200" dirty="0">
                <a:solidFill>
                  <a:schemeClr val="tx1"/>
                </a:solidFill>
                <a:latin typeface="Poppins Medium" panose="02000000000000000000" pitchFamily="2" charset="0"/>
                <a:ea typeface="+mn-ea"/>
                <a:cs typeface="Poppins Medium" panose="02000000000000000000" pitchFamily="2" charset="0"/>
              </a:rPr>
              <a:t>Thank you</a:t>
            </a:r>
          </a:p>
        </p:txBody>
      </p:sp>
      <p:pic>
        <p:nvPicPr>
          <p:cNvPr id="8" name="Picture 7">
            <a:extLst>
              <a:ext uri="{FF2B5EF4-FFF2-40B4-BE49-F238E27FC236}">
                <a16:creationId xmlns:a16="http://schemas.microsoft.com/office/drawing/2014/main" id="{0E774698-5CBF-4874-9D0E-FEB09DAE6969}"/>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428625" y="440213"/>
            <a:ext cx="4003675" cy="1290302"/>
          </a:xfrm>
          <a:prstGeom prst="rect">
            <a:avLst/>
          </a:prstGeom>
        </p:spPr>
      </p:pic>
      <p:sp>
        <p:nvSpPr>
          <p:cNvPr id="31" name="Rectangle 30">
            <a:extLst>
              <a:ext uri="{FF2B5EF4-FFF2-40B4-BE49-F238E27FC236}">
                <a16:creationId xmlns:a16="http://schemas.microsoft.com/office/drawing/2014/main" id="{85CB74FA-06E3-494B-A0BD-2282BBA99ED0}"/>
              </a:ext>
            </a:extLst>
          </p:cNvPr>
          <p:cNvSpPr/>
          <p:nvPr userDrawn="1"/>
        </p:nvSpPr>
        <p:spPr>
          <a:xfrm>
            <a:off x="8953500" y="203200"/>
            <a:ext cx="2933700" cy="88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Slide Number Placeholder 5">
            <a:extLst>
              <a:ext uri="{FF2B5EF4-FFF2-40B4-BE49-F238E27FC236}">
                <a16:creationId xmlns:a16="http://schemas.microsoft.com/office/drawing/2014/main" id="{A7585837-29D5-467B-95E7-6AAC44A72E5C}"/>
              </a:ext>
            </a:extLst>
          </p:cNvPr>
          <p:cNvSpPr txBox="1">
            <a:spLocks/>
          </p:cNvSpPr>
          <p:nvPr userDrawn="1"/>
        </p:nvSpPr>
        <p:spPr>
          <a:xfrm>
            <a:off x="11387579"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pic>
        <p:nvPicPr>
          <p:cNvPr id="4" name="Picture 3">
            <a:extLst>
              <a:ext uri="{FF2B5EF4-FFF2-40B4-BE49-F238E27FC236}">
                <a16:creationId xmlns:a16="http://schemas.microsoft.com/office/drawing/2014/main" id="{E9DBA6A8-EE85-4FF5-AE08-F8213354144A}"/>
              </a:ext>
            </a:extLst>
          </p:cNvPr>
          <p:cNvPicPr>
            <a:picLocks noChangeAspect="1"/>
          </p:cNvPicPr>
          <p:nvPr userDrawn="1"/>
        </p:nvPicPr>
        <p:blipFill>
          <a:blip r:embed="rId6" cstate="print">
            <a:biLevel thresh="75000"/>
            <a:extLst>
              <a:ext uri="{28A0092B-C50C-407E-A947-70E740481C1C}">
                <a14:useLocalDpi xmlns:a14="http://schemas.microsoft.com/office/drawing/2010/main"/>
              </a:ext>
            </a:extLst>
          </a:blip>
          <a:stretch>
            <a:fillRect/>
          </a:stretch>
        </p:blipFill>
        <p:spPr>
          <a:xfrm>
            <a:off x="2857434" y="6259790"/>
            <a:ext cx="113972" cy="98683"/>
          </a:xfrm>
          <a:prstGeom prst="rect">
            <a:avLst/>
          </a:prstGeom>
        </p:spPr>
      </p:pic>
      <p:sp>
        <p:nvSpPr>
          <p:cNvPr id="25" name="Content Placeholder 2">
            <a:extLst>
              <a:ext uri="{FF2B5EF4-FFF2-40B4-BE49-F238E27FC236}">
                <a16:creationId xmlns:a16="http://schemas.microsoft.com/office/drawing/2014/main" id="{EC04FB81-37F3-4E84-8139-7F85BF512BBE}"/>
              </a:ext>
            </a:extLst>
          </p:cNvPr>
          <p:cNvSpPr>
            <a:spLocks noGrp="1"/>
          </p:cNvSpPr>
          <p:nvPr>
            <p:ph idx="19" hasCustomPrompt="1"/>
          </p:nvPr>
        </p:nvSpPr>
        <p:spPr>
          <a:xfrm>
            <a:off x="692214" y="5418983"/>
            <a:ext cx="3253277" cy="266350"/>
          </a:xfrm>
        </p:spPr>
        <p:txBody>
          <a:bodyPr/>
          <a:lstStyle>
            <a:lvl1pPr marL="0" indent="0">
              <a:buNone/>
              <a:defRPr sz="1500">
                <a:solidFill>
                  <a:schemeClr val="tx1"/>
                </a:solidFill>
                <a:latin typeface="Poppins Light" panose="02000000000000000000" pitchFamily="2" charset="0"/>
                <a:cs typeface="Poppins Light" panose="02000000000000000000" pitchFamily="2" charset="0"/>
              </a:defRPr>
            </a:lvl1pPr>
            <a:lvl2pPr marL="246063" indent="0">
              <a:buNone/>
              <a:defRPr>
                <a:solidFill>
                  <a:schemeClr val="tx1"/>
                </a:solidFill>
              </a:defRPr>
            </a:lvl2pPr>
            <a:lvl3pPr marL="517525" indent="0">
              <a:buNone/>
              <a:defRPr>
                <a:solidFill>
                  <a:schemeClr val="tx1"/>
                </a:solidFill>
              </a:defRPr>
            </a:lvl3pPr>
            <a:lvl4pPr marL="763588" indent="0">
              <a:buNone/>
              <a:defRPr>
                <a:solidFill>
                  <a:schemeClr val="tx1"/>
                </a:solidFill>
              </a:defRPr>
            </a:lvl4pPr>
            <a:lvl5pPr marL="1057275" indent="0">
              <a:buNone/>
              <a:defRPr>
                <a:solidFill>
                  <a:schemeClr val="tx1"/>
                </a:solidFill>
              </a:defRPr>
            </a:lvl5pPr>
          </a:lstStyle>
          <a:p>
            <a:pPr lvl="0"/>
            <a:r>
              <a:rPr lang="en-US" dirty="0"/>
              <a:t>020 7304 XXXX</a:t>
            </a:r>
            <a:endParaRPr lang="en-GB" dirty="0"/>
          </a:p>
        </p:txBody>
      </p:sp>
    </p:spTree>
    <p:extLst>
      <p:ext uri="{BB962C8B-B14F-4D97-AF65-F5344CB8AC3E}">
        <p14:creationId xmlns:p14="http://schemas.microsoft.com/office/powerpoint/2010/main" val="6400910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losing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AF85290-9360-4536-BC30-9B5CCB583B5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9831"/>
            <a:ext cx="12192000" cy="6862168"/>
          </a:xfrm>
          <a:prstGeom prst="rect">
            <a:avLst/>
          </a:prstGeom>
        </p:spPr>
      </p:pic>
      <p:sp>
        <p:nvSpPr>
          <p:cNvPr id="24" name="TextBox 23">
            <a:extLst>
              <a:ext uri="{FF2B5EF4-FFF2-40B4-BE49-F238E27FC236}">
                <a16:creationId xmlns:a16="http://schemas.microsoft.com/office/drawing/2014/main" id="{74178BBD-95D4-49F6-8C10-1287AF7E79EC}"/>
              </a:ext>
            </a:extLst>
          </p:cNvPr>
          <p:cNvSpPr txBox="1"/>
          <p:nvPr userDrawn="1"/>
        </p:nvSpPr>
        <p:spPr>
          <a:xfrm>
            <a:off x="373710" y="6051220"/>
            <a:ext cx="5211749" cy="496161"/>
          </a:xfrm>
          <a:prstGeom prst="rect">
            <a:avLst/>
          </a:prstGeom>
          <a:noFill/>
        </p:spPr>
        <p:txBody>
          <a:bodyPr wrap="square" rtlCol="0">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GB" sz="800" dirty="0" err="1">
                <a:solidFill>
                  <a:schemeClr val="bg1"/>
                </a:solidFill>
                <a:latin typeface="Poppins SemiBold" panose="02000000000000000000" pitchFamily="2" charset="0"/>
                <a:cs typeface="Poppins SemiBold" panose="02000000000000000000" pitchFamily="2" charset="0"/>
              </a:rPr>
              <a:t>Zemo</a:t>
            </a:r>
            <a:r>
              <a:rPr lang="en-GB" sz="800" dirty="0">
                <a:solidFill>
                  <a:schemeClr val="bg1"/>
                </a:solidFill>
                <a:latin typeface="Poppins SemiBold" panose="02000000000000000000" pitchFamily="2" charset="0"/>
                <a:cs typeface="Poppins SemiBold" panose="02000000000000000000" pitchFamily="2" charset="0"/>
              </a:rPr>
              <a:t> Partnership</a:t>
            </a:r>
            <a:r>
              <a:rPr lang="en-GB" sz="800" dirty="0">
                <a:solidFill>
                  <a:schemeClr val="bg1"/>
                </a:solidFill>
                <a:latin typeface="Poppins" panose="02000000000000000000" pitchFamily="2" charset="0"/>
                <a:cs typeface="Poppins" panose="02000000000000000000" pitchFamily="2" charset="0"/>
              </a:rPr>
              <a:t>, 3 Birdcage Walk, London SW1H 9JJ</a:t>
            </a:r>
            <a:br>
              <a:rPr lang="en-GB" sz="800" dirty="0">
                <a:solidFill>
                  <a:schemeClr val="bg1"/>
                </a:solidFill>
                <a:latin typeface="Poppins" panose="02000000000000000000" pitchFamily="2" charset="0"/>
                <a:cs typeface="Poppins" panose="02000000000000000000" pitchFamily="2" charset="0"/>
              </a:rPr>
            </a:br>
            <a:r>
              <a:rPr lang="en-GB" sz="800" dirty="0">
                <a:solidFill>
                  <a:schemeClr val="bg1"/>
                </a:solidFill>
                <a:latin typeface="Poppins" panose="02000000000000000000" pitchFamily="2" charset="0"/>
                <a:cs typeface="Poppins" panose="02000000000000000000" pitchFamily="2" charset="0"/>
              </a:rPr>
              <a:t>T: +44 (0)20 7304 6880  |  E</a:t>
            </a:r>
            <a:r>
              <a:rPr lang="en-GB" sz="800" kern="1200" dirty="0">
                <a:solidFill>
                  <a:schemeClr val="bg1"/>
                </a:solidFill>
                <a:latin typeface="Poppins" panose="02000000000000000000" pitchFamily="2" charset="0"/>
                <a:ea typeface="+mn-ea"/>
                <a:cs typeface="Poppins" panose="02000000000000000000" pitchFamily="2" charset="0"/>
              </a:rPr>
              <a:t>: </a:t>
            </a:r>
            <a:r>
              <a:rPr lang="en-GB" sz="800" kern="1200" dirty="0">
                <a:solidFill>
                  <a:srgbClr val="FFFFFF"/>
                </a:solidFill>
                <a:latin typeface="Poppins" panose="02000000000000000000" pitchFamily="2" charset="0"/>
                <a:ea typeface="+mn-ea"/>
                <a:cs typeface="Poppins" panose="02000000000000000000" pitchFamily="2" charset="0"/>
                <a:hlinkClick r:id="rId3">
                  <a:extLst>
                    <a:ext uri="{A12FA001-AC4F-418D-AE19-62706E023703}">
                      <ahyp:hlinkClr xmlns:ahyp="http://schemas.microsoft.com/office/drawing/2018/hyperlinkcolor" val="tx"/>
                    </a:ext>
                  </a:extLst>
                </a:hlinkClick>
              </a:rPr>
              <a:t>hello@zemo.org.uk</a:t>
            </a:r>
            <a:r>
              <a:rPr lang="en-GB" sz="800" kern="1200" dirty="0">
                <a:solidFill>
                  <a:srgbClr val="FFFFFF"/>
                </a:solidFill>
                <a:latin typeface="Poppins" panose="02000000000000000000" pitchFamily="2" charset="0"/>
                <a:ea typeface="+mn-ea"/>
                <a:cs typeface="Poppins" panose="02000000000000000000" pitchFamily="2" charset="0"/>
              </a:rPr>
              <a:t>          </a:t>
            </a:r>
            <a:r>
              <a:rPr lang="en-GB" sz="800" kern="1200" dirty="0">
                <a:solidFill>
                  <a:schemeClr val="bg1"/>
                </a:solidFill>
                <a:latin typeface="Poppins" panose="02000000000000000000" pitchFamily="2" charset="0"/>
                <a:ea typeface="+mn-ea"/>
                <a:cs typeface="Poppins" panose="02000000000000000000" pitchFamily="2" charset="0"/>
              </a:rPr>
              <a:t>@Zemo_Org  |  </a:t>
            </a:r>
            <a:r>
              <a:rPr lang="en-GB" sz="800" kern="1200" dirty="0">
                <a:solidFill>
                  <a:srgbClr val="FFFFFF"/>
                </a:solidFill>
                <a:latin typeface="Poppins" panose="02000000000000000000" pitchFamily="2" charset="0"/>
                <a:ea typeface="+mn-ea"/>
                <a:cs typeface="Poppins" panose="02000000000000000000" pitchFamily="2" charset="0"/>
                <a:hlinkClick r:id="rId4">
                  <a:extLst>
                    <a:ext uri="{A12FA001-AC4F-418D-AE19-62706E023703}">
                      <ahyp:hlinkClr xmlns:ahyp="http://schemas.microsoft.com/office/drawing/2018/hyperlinkcolor" val="tx"/>
                    </a:ext>
                  </a:extLst>
                </a:hlinkClick>
              </a:rPr>
              <a:t>www.zemo.org.uk</a:t>
            </a:r>
            <a:r>
              <a:rPr lang="en-GB" sz="800" kern="1200" dirty="0">
                <a:solidFill>
                  <a:srgbClr val="FFFFFF"/>
                </a:solidFill>
                <a:latin typeface="Poppins" panose="02000000000000000000" pitchFamily="2" charset="0"/>
                <a:ea typeface="+mn-ea"/>
                <a:cs typeface="Poppins" panose="02000000000000000000" pitchFamily="2" charset="0"/>
              </a:rPr>
              <a:t> </a:t>
            </a:r>
          </a:p>
          <a:p>
            <a:endParaRPr lang="en-GB" sz="800" dirty="0">
              <a:solidFill>
                <a:schemeClr val="bg1"/>
              </a:solidFill>
              <a:latin typeface="Poppins" panose="02000000000000000000" pitchFamily="2" charset="0"/>
              <a:cs typeface="Poppins" panose="02000000000000000000" pitchFamily="2" charset="0"/>
            </a:endParaRPr>
          </a:p>
        </p:txBody>
      </p:sp>
      <p:sp>
        <p:nvSpPr>
          <p:cNvPr id="27" name="TextBox 26">
            <a:extLst>
              <a:ext uri="{FF2B5EF4-FFF2-40B4-BE49-F238E27FC236}">
                <a16:creationId xmlns:a16="http://schemas.microsoft.com/office/drawing/2014/main" id="{5E1EAD94-748A-4668-BE73-4409D62EB073}"/>
              </a:ext>
            </a:extLst>
          </p:cNvPr>
          <p:cNvSpPr txBox="1"/>
          <p:nvPr userDrawn="1"/>
        </p:nvSpPr>
        <p:spPr>
          <a:xfrm>
            <a:off x="373503" y="381302"/>
            <a:ext cx="5476025" cy="523220"/>
          </a:xfrm>
          <a:prstGeom prst="rect">
            <a:avLst/>
          </a:prstGeom>
          <a:noFill/>
        </p:spPr>
        <p:txBody>
          <a:bodyPr wrap="square" rtlCol="0">
            <a:spAutoFit/>
          </a:bodyPr>
          <a:lstStyle/>
          <a:p>
            <a:r>
              <a:rPr lang="en-GB" sz="2800" kern="1200" dirty="0">
                <a:solidFill>
                  <a:schemeClr val="bg1"/>
                </a:solidFill>
                <a:latin typeface="Poppins Medium" panose="02000000000000000000" pitchFamily="2" charset="0"/>
                <a:ea typeface="+mn-ea"/>
                <a:cs typeface="Poppins Medium" panose="02000000000000000000" pitchFamily="2" charset="0"/>
              </a:rPr>
              <a:t>Thank you</a:t>
            </a:r>
          </a:p>
        </p:txBody>
      </p:sp>
      <p:sp>
        <p:nvSpPr>
          <p:cNvPr id="23" name="Slide Number Placeholder 5">
            <a:extLst>
              <a:ext uri="{FF2B5EF4-FFF2-40B4-BE49-F238E27FC236}">
                <a16:creationId xmlns:a16="http://schemas.microsoft.com/office/drawing/2014/main" id="{A7585837-29D5-467B-95E7-6AAC44A72E5C}"/>
              </a:ext>
            </a:extLst>
          </p:cNvPr>
          <p:cNvSpPr txBox="1">
            <a:spLocks/>
          </p:cNvSpPr>
          <p:nvPr userDrawn="1"/>
        </p:nvSpPr>
        <p:spPr>
          <a:xfrm>
            <a:off x="11387579"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
        <p:nvSpPr>
          <p:cNvPr id="25" name="TextBox 24">
            <a:extLst>
              <a:ext uri="{FF2B5EF4-FFF2-40B4-BE49-F238E27FC236}">
                <a16:creationId xmlns:a16="http://schemas.microsoft.com/office/drawing/2014/main" id="{847B69C1-E3CD-4C39-89E7-6453371E7376}"/>
              </a:ext>
            </a:extLst>
          </p:cNvPr>
          <p:cNvSpPr txBox="1"/>
          <p:nvPr userDrawn="1"/>
        </p:nvSpPr>
        <p:spPr>
          <a:xfrm>
            <a:off x="373711" y="6453309"/>
            <a:ext cx="3872286" cy="215444"/>
          </a:xfrm>
          <a:prstGeom prst="rect">
            <a:avLst/>
          </a:prstGeom>
          <a:noFill/>
        </p:spPr>
        <p:txBody>
          <a:bodyPr wrap="square" rtlCol="0">
            <a:spAutoFit/>
          </a:bodyPr>
          <a:lstStyle/>
          <a:p>
            <a:r>
              <a:rPr lang="en-GB" sz="800" dirty="0" err="1">
                <a:solidFill>
                  <a:schemeClr val="bg1"/>
                </a:solidFill>
                <a:latin typeface="Poppins Medium" panose="02000000000000000000" pitchFamily="2" charset="0"/>
                <a:cs typeface="Poppins Medium" panose="02000000000000000000" pitchFamily="2" charset="0"/>
              </a:rPr>
              <a:t>Zemo</a:t>
            </a:r>
            <a:r>
              <a:rPr lang="en-GB" sz="800" dirty="0">
                <a:solidFill>
                  <a:schemeClr val="bg1"/>
                </a:solidFill>
                <a:latin typeface="Poppins Medium" panose="02000000000000000000" pitchFamily="2" charset="0"/>
                <a:cs typeface="Poppins Medium" panose="02000000000000000000" pitchFamily="2" charset="0"/>
              </a:rPr>
              <a:t> Partnership </a:t>
            </a:r>
            <a:r>
              <a:rPr lang="en-GB" sz="800" dirty="0">
                <a:solidFill>
                  <a:schemeClr val="bg1"/>
                </a:solidFill>
                <a:latin typeface="Poppins" panose="02000000000000000000" pitchFamily="2" charset="0"/>
                <a:cs typeface="Poppins" panose="02000000000000000000" pitchFamily="2" charset="0"/>
              </a:rPr>
              <a:t>© Copyright 2021</a:t>
            </a:r>
          </a:p>
        </p:txBody>
      </p:sp>
      <p:pic>
        <p:nvPicPr>
          <p:cNvPr id="11" name="Picture 10">
            <a:extLst>
              <a:ext uri="{FF2B5EF4-FFF2-40B4-BE49-F238E27FC236}">
                <a16:creationId xmlns:a16="http://schemas.microsoft.com/office/drawing/2014/main" id="{569D7EAF-DF5E-4550-A7E3-87924B748E5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7802310" y="174396"/>
            <a:ext cx="4218773" cy="1735528"/>
          </a:xfrm>
          <a:prstGeom prst="rect">
            <a:avLst/>
          </a:prstGeom>
        </p:spPr>
      </p:pic>
      <p:pic>
        <p:nvPicPr>
          <p:cNvPr id="26" name="Picture 25">
            <a:extLst>
              <a:ext uri="{FF2B5EF4-FFF2-40B4-BE49-F238E27FC236}">
                <a16:creationId xmlns:a16="http://schemas.microsoft.com/office/drawing/2014/main" id="{16203968-3FE2-42D1-A077-8EB7652C034B}"/>
              </a:ext>
            </a:extLst>
          </p:cNvPr>
          <p:cNvPicPr>
            <a:picLocks noChangeAspect="1"/>
          </p:cNvPicPr>
          <p:nvPr userDrawn="1"/>
        </p:nvPicPr>
        <p:blipFill>
          <a:blip r:embed="rId6" cstate="print">
            <a:biLevel thresh="25000"/>
            <a:extLst>
              <a:ext uri="{28A0092B-C50C-407E-A947-70E740481C1C}">
                <a14:useLocalDpi xmlns:a14="http://schemas.microsoft.com/office/drawing/2010/main"/>
              </a:ext>
            </a:extLst>
          </a:blip>
          <a:stretch>
            <a:fillRect/>
          </a:stretch>
        </p:blipFill>
        <p:spPr>
          <a:xfrm>
            <a:off x="2865612" y="6271405"/>
            <a:ext cx="113972" cy="98683"/>
          </a:xfrm>
          <a:prstGeom prst="rect">
            <a:avLst/>
          </a:prstGeom>
        </p:spPr>
      </p:pic>
      <p:sp>
        <p:nvSpPr>
          <p:cNvPr id="28" name="Content Placeholder 2">
            <a:extLst>
              <a:ext uri="{FF2B5EF4-FFF2-40B4-BE49-F238E27FC236}">
                <a16:creationId xmlns:a16="http://schemas.microsoft.com/office/drawing/2014/main" id="{AFCECBDF-3449-48D9-81A0-D9417C239119}"/>
              </a:ext>
            </a:extLst>
          </p:cNvPr>
          <p:cNvSpPr>
            <a:spLocks noGrp="1"/>
          </p:cNvSpPr>
          <p:nvPr>
            <p:ph idx="1" hasCustomPrompt="1"/>
          </p:nvPr>
        </p:nvSpPr>
        <p:spPr>
          <a:xfrm>
            <a:off x="472917" y="2922062"/>
            <a:ext cx="3467965" cy="266350"/>
          </a:xfrm>
        </p:spPr>
        <p:txBody>
          <a:bodyPr/>
          <a:lstStyle>
            <a:lvl1pPr marL="0" indent="0">
              <a:buNone/>
              <a:defRPr sz="1500">
                <a:solidFill>
                  <a:schemeClr val="bg1"/>
                </a:solidFill>
              </a:defRPr>
            </a:lvl1pPr>
            <a:lvl2pPr marL="246063" indent="0">
              <a:buNone/>
              <a:defRPr>
                <a:solidFill>
                  <a:schemeClr val="tx1"/>
                </a:solidFill>
              </a:defRPr>
            </a:lvl2pPr>
            <a:lvl3pPr marL="517525" indent="0">
              <a:buNone/>
              <a:defRPr>
                <a:solidFill>
                  <a:schemeClr val="tx1"/>
                </a:solidFill>
              </a:defRPr>
            </a:lvl3pPr>
            <a:lvl4pPr marL="763588" indent="0">
              <a:buNone/>
              <a:defRPr>
                <a:solidFill>
                  <a:schemeClr val="tx1"/>
                </a:solidFill>
              </a:defRPr>
            </a:lvl4pPr>
            <a:lvl5pPr marL="1057275" indent="0">
              <a:buNone/>
              <a:defRPr>
                <a:solidFill>
                  <a:schemeClr val="tx1"/>
                </a:solidFill>
              </a:defRPr>
            </a:lvl5pPr>
          </a:lstStyle>
          <a:p>
            <a:pPr lvl="0"/>
            <a:r>
              <a:rPr lang="en-US" dirty="0"/>
              <a:t>Name Titles</a:t>
            </a:r>
            <a:endParaRPr lang="en-GB" dirty="0"/>
          </a:p>
        </p:txBody>
      </p:sp>
      <p:sp>
        <p:nvSpPr>
          <p:cNvPr id="30" name="Content Placeholder 2">
            <a:extLst>
              <a:ext uri="{FF2B5EF4-FFF2-40B4-BE49-F238E27FC236}">
                <a16:creationId xmlns:a16="http://schemas.microsoft.com/office/drawing/2014/main" id="{F80E45E3-78F0-4783-8484-72D4AEDAECC9}"/>
              </a:ext>
            </a:extLst>
          </p:cNvPr>
          <p:cNvSpPr>
            <a:spLocks noGrp="1"/>
          </p:cNvSpPr>
          <p:nvPr>
            <p:ph idx="12" hasCustomPrompt="1"/>
          </p:nvPr>
        </p:nvSpPr>
        <p:spPr>
          <a:xfrm>
            <a:off x="472917" y="3215577"/>
            <a:ext cx="3467965" cy="266350"/>
          </a:xfrm>
        </p:spPr>
        <p:txBody>
          <a:bodyPr/>
          <a:lstStyle>
            <a:lvl1pPr marL="0" indent="0">
              <a:buNone/>
              <a:defRPr sz="1500">
                <a:solidFill>
                  <a:schemeClr val="bg1"/>
                </a:solidFill>
                <a:latin typeface="Poppins Light" panose="02000000000000000000" pitchFamily="2" charset="0"/>
                <a:cs typeface="Poppins Light" panose="02000000000000000000" pitchFamily="2" charset="0"/>
              </a:defRPr>
            </a:lvl1pPr>
            <a:lvl2pPr marL="246063" indent="0">
              <a:buNone/>
              <a:defRPr>
                <a:solidFill>
                  <a:schemeClr val="tx1"/>
                </a:solidFill>
              </a:defRPr>
            </a:lvl2pPr>
            <a:lvl3pPr marL="517525" indent="0">
              <a:buNone/>
              <a:defRPr>
                <a:solidFill>
                  <a:schemeClr val="tx1"/>
                </a:solidFill>
              </a:defRPr>
            </a:lvl3pPr>
            <a:lvl4pPr marL="763588" indent="0">
              <a:buNone/>
              <a:defRPr>
                <a:solidFill>
                  <a:schemeClr val="tx1"/>
                </a:solidFill>
              </a:defRPr>
            </a:lvl4pPr>
            <a:lvl5pPr marL="1057275" indent="0">
              <a:buNone/>
              <a:defRPr>
                <a:solidFill>
                  <a:schemeClr val="tx1"/>
                </a:solidFill>
              </a:defRPr>
            </a:lvl5pPr>
          </a:lstStyle>
          <a:p>
            <a:pPr lvl="0"/>
            <a:r>
              <a:rPr lang="en-US" dirty="0"/>
              <a:t>Position</a:t>
            </a:r>
            <a:endParaRPr lang="en-GB" dirty="0"/>
          </a:p>
        </p:txBody>
      </p:sp>
      <p:sp>
        <p:nvSpPr>
          <p:cNvPr id="31" name="Content Placeholder 2">
            <a:extLst>
              <a:ext uri="{FF2B5EF4-FFF2-40B4-BE49-F238E27FC236}">
                <a16:creationId xmlns:a16="http://schemas.microsoft.com/office/drawing/2014/main" id="{F1D9CF1F-ED00-457E-BCAF-79D01E578FE2}"/>
              </a:ext>
            </a:extLst>
          </p:cNvPr>
          <p:cNvSpPr>
            <a:spLocks noGrp="1"/>
          </p:cNvSpPr>
          <p:nvPr>
            <p:ph idx="13" hasCustomPrompt="1"/>
          </p:nvPr>
        </p:nvSpPr>
        <p:spPr>
          <a:xfrm>
            <a:off x="687604" y="3505806"/>
            <a:ext cx="3253278" cy="266350"/>
          </a:xfrm>
        </p:spPr>
        <p:txBody>
          <a:bodyPr/>
          <a:lstStyle>
            <a:lvl1pPr marL="0" indent="0">
              <a:buNone/>
              <a:defRPr lang="en-GB" sz="1500" kern="1200" dirty="0">
                <a:solidFill>
                  <a:schemeClr val="bg1"/>
                </a:solidFill>
                <a:latin typeface="Poppins Light" panose="02000000000000000000" pitchFamily="2" charset="0"/>
                <a:ea typeface="+mn-ea"/>
                <a:cs typeface="Poppins Light" panose="02000000000000000000" pitchFamily="2" charset="0"/>
              </a:defRPr>
            </a:lvl1pPr>
            <a:lvl2pPr marL="246063" indent="0">
              <a:buNone/>
              <a:defRPr>
                <a:solidFill>
                  <a:schemeClr val="tx1"/>
                </a:solidFill>
              </a:defRPr>
            </a:lvl2pPr>
            <a:lvl3pPr marL="517525" indent="0">
              <a:buNone/>
              <a:defRPr>
                <a:solidFill>
                  <a:schemeClr val="tx1"/>
                </a:solidFill>
              </a:defRPr>
            </a:lvl3pPr>
            <a:lvl4pPr marL="763588" indent="0">
              <a:buNone/>
              <a:defRPr>
                <a:solidFill>
                  <a:schemeClr val="tx1"/>
                </a:solidFill>
              </a:defRPr>
            </a:lvl4pPr>
            <a:lvl5pPr marL="1057275" indent="0">
              <a:buNone/>
              <a:defRPr>
                <a:solidFill>
                  <a:schemeClr val="tx1"/>
                </a:solidFill>
              </a:defRPr>
            </a:lvl5pPr>
          </a:lstStyle>
          <a:p>
            <a:pPr lvl="0"/>
            <a:r>
              <a:rPr lang="en-US" dirty="0"/>
              <a:t>first.surname@zemo.org.uk</a:t>
            </a:r>
            <a:endParaRPr lang="en-GB" dirty="0"/>
          </a:p>
        </p:txBody>
      </p:sp>
      <p:sp>
        <p:nvSpPr>
          <p:cNvPr id="32" name="Content Placeholder 2">
            <a:extLst>
              <a:ext uri="{FF2B5EF4-FFF2-40B4-BE49-F238E27FC236}">
                <a16:creationId xmlns:a16="http://schemas.microsoft.com/office/drawing/2014/main" id="{90CCDB89-B512-4A32-9827-D776B903C90B}"/>
              </a:ext>
            </a:extLst>
          </p:cNvPr>
          <p:cNvSpPr>
            <a:spLocks noGrp="1"/>
          </p:cNvSpPr>
          <p:nvPr>
            <p:ph idx="14" hasCustomPrompt="1"/>
          </p:nvPr>
        </p:nvSpPr>
        <p:spPr>
          <a:xfrm>
            <a:off x="702047" y="3787225"/>
            <a:ext cx="2992452" cy="266350"/>
          </a:xfrm>
        </p:spPr>
        <p:txBody>
          <a:bodyPr/>
          <a:lstStyle>
            <a:lvl1pPr marL="0" indent="0">
              <a:buNone/>
              <a:defRPr sz="1500">
                <a:solidFill>
                  <a:schemeClr val="bg1"/>
                </a:solidFill>
                <a:latin typeface="Poppins Light" panose="02000000000000000000" pitchFamily="2" charset="0"/>
                <a:cs typeface="Poppins Light" panose="02000000000000000000" pitchFamily="2" charset="0"/>
              </a:defRPr>
            </a:lvl1pPr>
            <a:lvl2pPr marL="246063" indent="0">
              <a:buNone/>
              <a:defRPr>
                <a:solidFill>
                  <a:schemeClr val="tx1"/>
                </a:solidFill>
              </a:defRPr>
            </a:lvl2pPr>
            <a:lvl3pPr marL="517525" indent="0">
              <a:buNone/>
              <a:defRPr>
                <a:solidFill>
                  <a:schemeClr val="tx1"/>
                </a:solidFill>
              </a:defRPr>
            </a:lvl3pPr>
            <a:lvl4pPr marL="763588" indent="0">
              <a:buNone/>
              <a:defRPr>
                <a:solidFill>
                  <a:schemeClr val="tx1"/>
                </a:solidFill>
              </a:defRPr>
            </a:lvl4pPr>
            <a:lvl5pPr marL="1057275" indent="0">
              <a:buNone/>
              <a:defRPr>
                <a:solidFill>
                  <a:schemeClr val="tx1"/>
                </a:solidFill>
              </a:defRPr>
            </a:lvl5pPr>
          </a:lstStyle>
          <a:p>
            <a:pPr lvl="0"/>
            <a:r>
              <a:rPr lang="en-US" dirty="0"/>
              <a:t>020 7304 XXXX</a:t>
            </a:r>
            <a:endParaRPr lang="en-GB" dirty="0"/>
          </a:p>
        </p:txBody>
      </p:sp>
      <p:sp>
        <p:nvSpPr>
          <p:cNvPr id="33" name="TextBox 32">
            <a:extLst>
              <a:ext uri="{FF2B5EF4-FFF2-40B4-BE49-F238E27FC236}">
                <a16:creationId xmlns:a16="http://schemas.microsoft.com/office/drawing/2014/main" id="{7A198F02-10FE-4E22-8DC6-393EA3A78AA9}"/>
              </a:ext>
            </a:extLst>
          </p:cNvPr>
          <p:cNvSpPr txBox="1"/>
          <p:nvPr userDrawn="1"/>
        </p:nvSpPr>
        <p:spPr>
          <a:xfrm>
            <a:off x="368515" y="3518509"/>
            <a:ext cx="383557" cy="323165"/>
          </a:xfrm>
          <a:prstGeom prst="rect">
            <a:avLst/>
          </a:prstGeom>
          <a:noFill/>
        </p:spPr>
        <p:txBody>
          <a:bodyPr wrap="square" rtlCol="0">
            <a:spAutoFit/>
          </a:bodyPr>
          <a:lstStyle/>
          <a:p>
            <a:r>
              <a:rPr lang="en-GB" sz="1500" kern="1200" dirty="0">
                <a:solidFill>
                  <a:schemeClr val="bg1"/>
                </a:solidFill>
                <a:latin typeface="Poppins Medium" panose="02000000000000000000" pitchFamily="2" charset="0"/>
                <a:ea typeface="+mn-ea"/>
                <a:cs typeface="Poppins Medium" panose="02000000000000000000" pitchFamily="2" charset="0"/>
              </a:rPr>
              <a:t>E:</a:t>
            </a:r>
          </a:p>
        </p:txBody>
      </p:sp>
      <p:sp>
        <p:nvSpPr>
          <p:cNvPr id="34" name="TextBox 33">
            <a:extLst>
              <a:ext uri="{FF2B5EF4-FFF2-40B4-BE49-F238E27FC236}">
                <a16:creationId xmlns:a16="http://schemas.microsoft.com/office/drawing/2014/main" id="{2099A3C2-8CBA-4746-A8DD-0E794E4BAB32}"/>
              </a:ext>
            </a:extLst>
          </p:cNvPr>
          <p:cNvSpPr txBox="1"/>
          <p:nvPr userDrawn="1"/>
        </p:nvSpPr>
        <p:spPr>
          <a:xfrm>
            <a:off x="371455" y="3794033"/>
            <a:ext cx="383557" cy="323165"/>
          </a:xfrm>
          <a:prstGeom prst="rect">
            <a:avLst/>
          </a:prstGeom>
          <a:noFill/>
        </p:spPr>
        <p:txBody>
          <a:bodyPr wrap="square" rtlCol="0">
            <a:spAutoFit/>
          </a:bodyPr>
          <a:lstStyle/>
          <a:p>
            <a:r>
              <a:rPr lang="en-GB" sz="1500" kern="1200" dirty="0">
                <a:solidFill>
                  <a:schemeClr val="bg1"/>
                </a:solidFill>
                <a:latin typeface="Poppins Medium" panose="02000000000000000000" pitchFamily="2" charset="0"/>
                <a:ea typeface="+mn-ea"/>
                <a:cs typeface="Poppins Medium" panose="02000000000000000000" pitchFamily="2" charset="0"/>
              </a:rPr>
              <a:t>T:</a:t>
            </a:r>
          </a:p>
        </p:txBody>
      </p:sp>
      <p:sp>
        <p:nvSpPr>
          <p:cNvPr id="35" name="Content Placeholder 2">
            <a:extLst>
              <a:ext uri="{FF2B5EF4-FFF2-40B4-BE49-F238E27FC236}">
                <a16:creationId xmlns:a16="http://schemas.microsoft.com/office/drawing/2014/main" id="{69839537-279D-4208-8684-91FC1240FC22}"/>
              </a:ext>
            </a:extLst>
          </p:cNvPr>
          <p:cNvSpPr>
            <a:spLocks noGrp="1"/>
          </p:cNvSpPr>
          <p:nvPr>
            <p:ph idx="15" hasCustomPrompt="1"/>
          </p:nvPr>
        </p:nvSpPr>
        <p:spPr>
          <a:xfrm>
            <a:off x="472917" y="4561820"/>
            <a:ext cx="3467965" cy="266350"/>
          </a:xfrm>
        </p:spPr>
        <p:txBody>
          <a:bodyPr/>
          <a:lstStyle>
            <a:lvl1pPr marL="0" indent="0">
              <a:buNone/>
              <a:defRPr sz="1500">
                <a:solidFill>
                  <a:schemeClr val="bg1"/>
                </a:solidFill>
              </a:defRPr>
            </a:lvl1pPr>
            <a:lvl2pPr marL="246063" indent="0">
              <a:buNone/>
              <a:defRPr>
                <a:solidFill>
                  <a:schemeClr val="tx1"/>
                </a:solidFill>
              </a:defRPr>
            </a:lvl2pPr>
            <a:lvl3pPr marL="517525" indent="0">
              <a:buNone/>
              <a:defRPr>
                <a:solidFill>
                  <a:schemeClr val="tx1"/>
                </a:solidFill>
              </a:defRPr>
            </a:lvl3pPr>
            <a:lvl4pPr marL="763588" indent="0">
              <a:buNone/>
              <a:defRPr>
                <a:solidFill>
                  <a:schemeClr val="tx1"/>
                </a:solidFill>
              </a:defRPr>
            </a:lvl4pPr>
            <a:lvl5pPr marL="1057275" indent="0">
              <a:buNone/>
              <a:defRPr>
                <a:solidFill>
                  <a:schemeClr val="tx1"/>
                </a:solidFill>
              </a:defRPr>
            </a:lvl5pPr>
          </a:lstStyle>
          <a:p>
            <a:pPr lvl="0"/>
            <a:r>
              <a:rPr lang="en-US" dirty="0"/>
              <a:t>Name Titles</a:t>
            </a:r>
            <a:endParaRPr lang="en-GB" dirty="0"/>
          </a:p>
        </p:txBody>
      </p:sp>
      <p:sp>
        <p:nvSpPr>
          <p:cNvPr id="36" name="Content Placeholder 2">
            <a:extLst>
              <a:ext uri="{FF2B5EF4-FFF2-40B4-BE49-F238E27FC236}">
                <a16:creationId xmlns:a16="http://schemas.microsoft.com/office/drawing/2014/main" id="{933E4C0A-9D42-4C4C-B70B-43BFDCAA2180}"/>
              </a:ext>
            </a:extLst>
          </p:cNvPr>
          <p:cNvSpPr>
            <a:spLocks noGrp="1"/>
          </p:cNvSpPr>
          <p:nvPr>
            <p:ph idx="16" hasCustomPrompt="1"/>
          </p:nvPr>
        </p:nvSpPr>
        <p:spPr>
          <a:xfrm>
            <a:off x="472917" y="4845810"/>
            <a:ext cx="3467965" cy="266350"/>
          </a:xfrm>
        </p:spPr>
        <p:txBody>
          <a:bodyPr/>
          <a:lstStyle>
            <a:lvl1pPr marL="0" indent="0">
              <a:buNone/>
              <a:defRPr sz="1500">
                <a:solidFill>
                  <a:schemeClr val="bg1"/>
                </a:solidFill>
                <a:latin typeface="Poppins Light" panose="02000000000000000000" pitchFamily="2" charset="0"/>
                <a:cs typeface="Poppins Light" panose="02000000000000000000" pitchFamily="2" charset="0"/>
              </a:defRPr>
            </a:lvl1pPr>
            <a:lvl2pPr marL="246063" indent="0">
              <a:buNone/>
              <a:defRPr>
                <a:solidFill>
                  <a:schemeClr val="tx1"/>
                </a:solidFill>
              </a:defRPr>
            </a:lvl2pPr>
            <a:lvl3pPr marL="517525" indent="0">
              <a:buNone/>
              <a:defRPr>
                <a:solidFill>
                  <a:schemeClr val="tx1"/>
                </a:solidFill>
              </a:defRPr>
            </a:lvl3pPr>
            <a:lvl4pPr marL="763588" indent="0">
              <a:buNone/>
              <a:defRPr>
                <a:solidFill>
                  <a:schemeClr val="tx1"/>
                </a:solidFill>
              </a:defRPr>
            </a:lvl4pPr>
            <a:lvl5pPr marL="1057275" indent="0">
              <a:buNone/>
              <a:defRPr>
                <a:solidFill>
                  <a:schemeClr val="tx1"/>
                </a:solidFill>
              </a:defRPr>
            </a:lvl5pPr>
          </a:lstStyle>
          <a:p>
            <a:pPr lvl="0"/>
            <a:r>
              <a:rPr lang="en-US" dirty="0"/>
              <a:t>Position</a:t>
            </a:r>
            <a:endParaRPr lang="en-GB" dirty="0"/>
          </a:p>
        </p:txBody>
      </p:sp>
      <p:sp>
        <p:nvSpPr>
          <p:cNvPr id="37" name="Content Placeholder 2">
            <a:extLst>
              <a:ext uri="{FF2B5EF4-FFF2-40B4-BE49-F238E27FC236}">
                <a16:creationId xmlns:a16="http://schemas.microsoft.com/office/drawing/2014/main" id="{D74208BD-8444-4F5C-B44F-94B671832B1D}"/>
              </a:ext>
            </a:extLst>
          </p:cNvPr>
          <p:cNvSpPr>
            <a:spLocks noGrp="1"/>
          </p:cNvSpPr>
          <p:nvPr>
            <p:ph idx="17" hasCustomPrompt="1"/>
          </p:nvPr>
        </p:nvSpPr>
        <p:spPr>
          <a:xfrm>
            <a:off x="687604" y="5124796"/>
            <a:ext cx="3253278" cy="266350"/>
          </a:xfrm>
        </p:spPr>
        <p:txBody>
          <a:bodyPr/>
          <a:lstStyle>
            <a:lvl1pPr marL="0" indent="0">
              <a:buNone/>
              <a:defRPr sz="1500">
                <a:solidFill>
                  <a:schemeClr val="bg1"/>
                </a:solidFill>
                <a:latin typeface="Poppins Light" panose="02000000000000000000" pitchFamily="2" charset="0"/>
                <a:cs typeface="Poppins Light" panose="02000000000000000000" pitchFamily="2" charset="0"/>
              </a:defRPr>
            </a:lvl1pPr>
            <a:lvl2pPr marL="246063" indent="0">
              <a:buNone/>
              <a:defRPr>
                <a:solidFill>
                  <a:schemeClr val="tx1"/>
                </a:solidFill>
              </a:defRPr>
            </a:lvl2pPr>
            <a:lvl3pPr marL="517525" indent="0">
              <a:buNone/>
              <a:defRPr>
                <a:solidFill>
                  <a:schemeClr val="tx1"/>
                </a:solidFill>
              </a:defRPr>
            </a:lvl3pPr>
            <a:lvl4pPr marL="763588" indent="0">
              <a:buNone/>
              <a:defRPr>
                <a:solidFill>
                  <a:schemeClr val="tx1"/>
                </a:solidFill>
              </a:defRPr>
            </a:lvl4pPr>
            <a:lvl5pPr marL="1057275" indent="0">
              <a:buNone/>
              <a:defRPr>
                <a:solidFill>
                  <a:schemeClr val="tx1"/>
                </a:solidFill>
              </a:defRPr>
            </a:lvl5pPr>
          </a:lstStyle>
          <a:p>
            <a:pPr lvl="0"/>
            <a:r>
              <a:rPr lang="en-US" dirty="0"/>
              <a:t>first.surname@zemo.org.uk</a:t>
            </a:r>
            <a:endParaRPr lang="en-GB" dirty="0"/>
          </a:p>
        </p:txBody>
      </p:sp>
      <p:sp>
        <p:nvSpPr>
          <p:cNvPr id="38" name="TextBox 37">
            <a:extLst>
              <a:ext uri="{FF2B5EF4-FFF2-40B4-BE49-F238E27FC236}">
                <a16:creationId xmlns:a16="http://schemas.microsoft.com/office/drawing/2014/main" id="{6C34EA97-DF16-4D4F-A75B-1FA307018C05}"/>
              </a:ext>
            </a:extLst>
          </p:cNvPr>
          <p:cNvSpPr txBox="1"/>
          <p:nvPr userDrawn="1"/>
        </p:nvSpPr>
        <p:spPr>
          <a:xfrm>
            <a:off x="368515" y="5153582"/>
            <a:ext cx="383557" cy="323165"/>
          </a:xfrm>
          <a:prstGeom prst="rect">
            <a:avLst/>
          </a:prstGeom>
          <a:noFill/>
        </p:spPr>
        <p:txBody>
          <a:bodyPr wrap="square" rtlCol="0">
            <a:spAutoFit/>
          </a:bodyPr>
          <a:lstStyle/>
          <a:p>
            <a:r>
              <a:rPr lang="en-GB" sz="1500" kern="1200" dirty="0">
                <a:solidFill>
                  <a:schemeClr val="bg1"/>
                </a:solidFill>
                <a:latin typeface="Poppins Medium" panose="02000000000000000000" pitchFamily="2" charset="0"/>
                <a:ea typeface="+mn-ea"/>
                <a:cs typeface="Poppins Medium" panose="02000000000000000000" pitchFamily="2" charset="0"/>
              </a:rPr>
              <a:t>E:</a:t>
            </a:r>
          </a:p>
        </p:txBody>
      </p:sp>
      <p:sp>
        <p:nvSpPr>
          <p:cNvPr id="39" name="TextBox 38">
            <a:extLst>
              <a:ext uri="{FF2B5EF4-FFF2-40B4-BE49-F238E27FC236}">
                <a16:creationId xmlns:a16="http://schemas.microsoft.com/office/drawing/2014/main" id="{0BAB1DCA-933D-4BC5-96A3-55645CD78A59}"/>
              </a:ext>
            </a:extLst>
          </p:cNvPr>
          <p:cNvSpPr txBox="1"/>
          <p:nvPr userDrawn="1"/>
        </p:nvSpPr>
        <p:spPr>
          <a:xfrm>
            <a:off x="371455" y="5419274"/>
            <a:ext cx="383557" cy="323165"/>
          </a:xfrm>
          <a:prstGeom prst="rect">
            <a:avLst/>
          </a:prstGeom>
          <a:noFill/>
        </p:spPr>
        <p:txBody>
          <a:bodyPr wrap="square" rtlCol="0">
            <a:spAutoFit/>
          </a:bodyPr>
          <a:lstStyle/>
          <a:p>
            <a:r>
              <a:rPr lang="en-GB" sz="1500" kern="1200" dirty="0">
                <a:solidFill>
                  <a:schemeClr val="bg1"/>
                </a:solidFill>
                <a:latin typeface="Poppins Medium" panose="02000000000000000000" pitchFamily="2" charset="0"/>
                <a:ea typeface="+mn-ea"/>
                <a:cs typeface="Poppins Medium" panose="02000000000000000000" pitchFamily="2" charset="0"/>
              </a:rPr>
              <a:t>T:</a:t>
            </a:r>
          </a:p>
        </p:txBody>
      </p:sp>
      <p:sp>
        <p:nvSpPr>
          <p:cNvPr id="40" name="TextBox 39">
            <a:extLst>
              <a:ext uri="{FF2B5EF4-FFF2-40B4-BE49-F238E27FC236}">
                <a16:creationId xmlns:a16="http://schemas.microsoft.com/office/drawing/2014/main" id="{655E418A-E3BD-4ED8-A984-10613A2CEC3A}"/>
              </a:ext>
            </a:extLst>
          </p:cNvPr>
          <p:cNvSpPr txBox="1"/>
          <p:nvPr userDrawn="1"/>
        </p:nvSpPr>
        <p:spPr>
          <a:xfrm>
            <a:off x="368515" y="4198952"/>
            <a:ext cx="5476025" cy="323165"/>
          </a:xfrm>
          <a:prstGeom prst="rect">
            <a:avLst/>
          </a:prstGeom>
          <a:noFill/>
        </p:spPr>
        <p:txBody>
          <a:bodyPr wrap="square" rtlCol="0">
            <a:spAutoFit/>
          </a:bodyPr>
          <a:lstStyle/>
          <a:p>
            <a:r>
              <a:rPr lang="en-GB" sz="1500" kern="1200" dirty="0">
                <a:solidFill>
                  <a:schemeClr val="bg1"/>
                </a:solidFill>
                <a:latin typeface="Poppins Medium" panose="02000000000000000000" pitchFamily="2" charset="0"/>
                <a:ea typeface="+mn-ea"/>
                <a:cs typeface="Poppins Medium" panose="02000000000000000000" pitchFamily="2" charset="0"/>
              </a:rPr>
              <a:t>Interested in joining the Partnership?</a:t>
            </a:r>
          </a:p>
        </p:txBody>
      </p:sp>
      <p:sp>
        <p:nvSpPr>
          <p:cNvPr id="41" name="TextBox 40">
            <a:extLst>
              <a:ext uri="{FF2B5EF4-FFF2-40B4-BE49-F238E27FC236}">
                <a16:creationId xmlns:a16="http://schemas.microsoft.com/office/drawing/2014/main" id="{9B5BFCC8-FF40-4A84-848D-7A8BE48B6205}"/>
              </a:ext>
            </a:extLst>
          </p:cNvPr>
          <p:cNvSpPr txBox="1"/>
          <p:nvPr userDrawn="1"/>
        </p:nvSpPr>
        <p:spPr>
          <a:xfrm>
            <a:off x="373503" y="2566533"/>
            <a:ext cx="5476025" cy="323165"/>
          </a:xfrm>
          <a:prstGeom prst="rect">
            <a:avLst/>
          </a:prstGeom>
          <a:noFill/>
        </p:spPr>
        <p:txBody>
          <a:bodyPr wrap="square" rtlCol="0">
            <a:spAutoFit/>
          </a:bodyPr>
          <a:lstStyle/>
          <a:p>
            <a:r>
              <a:rPr lang="en-GB" sz="1500" kern="1200" dirty="0">
                <a:solidFill>
                  <a:schemeClr val="bg1"/>
                </a:solidFill>
                <a:latin typeface="Poppins Medium" panose="02000000000000000000" pitchFamily="2" charset="0"/>
                <a:ea typeface="+mn-ea"/>
                <a:cs typeface="Poppins Medium" panose="02000000000000000000" pitchFamily="2" charset="0"/>
              </a:rPr>
              <a:t>Any questions? Please get in touch</a:t>
            </a:r>
          </a:p>
        </p:txBody>
      </p:sp>
      <p:sp>
        <p:nvSpPr>
          <p:cNvPr id="43" name="Content Placeholder 2">
            <a:extLst>
              <a:ext uri="{FF2B5EF4-FFF2-40B4-BE49-F238E27FC236}">
                <a16:creationId xmlns:a16="http://schemas.microsoft.com/office/drawing/2014/main" id="{442242D0-DA9E-43A9-86CB-F6152C6CD447}"/>
              </a:ext>
            </a:extLst>
          </p:cNvPr>
          <p:cNvSpPr>
            <a:spLocks noGrp="1"/>
          </p:cNvSpPr>
          <p:nvPr>
            <p:ph idx="19" hasCustomPrompt="1"/>
          </p:nvPr>
        </p:nvSpPr>
        <p:spPr>
          <a:xfrm>
            <a:off x="702046" y="5418980"/>
            <a:ext cx="3253277" cy="266350"/>
          </a:xfrm>
        </p:spPr>
        <p:txBody>
          <a:bodyPr/>
          <a:lstStyle>
            <a:lvl1pPr marL="0" indent="0">
              <a:buNone/>
              <a:defRPr sz="1500">
                <a:solidFill>
                  <a:schemeClr val="bg1"/>
                </a:solidFill>
                <a:latin typeface="Poppins Light" panose="02000000000000000000" pitchFamily="2" charset="0"/>
                <a:cs typeface="Poppins Light" panose="02000000000000000000" pitchFamily="2" charset="0"/>
              </a:defRPr>
            </a:lvl1pPr>
            <a:lvl2pPr marL="246063" indent="0">
              <a:buNone/>
              <a:defRPr>
                <a:solidFill>
                  <a:schemeClr val="tx1"/>
                </a:solidFill>
              </a:defRPr>
            </a:lvl2pPr>
            <a:lvl3pPr marL="517525" indent="0">
              <a:buNone/>
              <a:defRPr>
                <a:solidFill>
                  <a:schemeClr val="tx1"/>
                </a:solidFill>
              </a:defRPr>
            </a:lvl3pPr>
            <a:lvl4pPr marL="763588" indent="0">
              <a:buNone/>
              <a:defRPr>
                <a:solidFill>
                  <a:schemeClr val="tx1"/>
                </a:solidFill>
              </a:defRPr>
            </a:lvl4pPr>
            <a:lvl5pPr marL="1057275" indent="0">
              <a:buNone/>
              <a:defRPr>
                <a:solidFill>
                  <a:schemeClr val="tx1"/>
                </a:solidFill>
              </a:defRPr>
            </a:lvl5pPr>
          </a:lstStyle>
          <a:p>
            <a:pPr lvl="0"/>
            <a:r>
              <a:rPr lang="en-US" dirty="0"/>
              <a:t>020 7304 XXXX</a:t>
            </a:r>
            <a:endParaRPr lang="en-GB" dirty="0"/>
          </a:p>
        </p:txBody>
      </p:sp>
    </p:spTree>
    <p:extLst>
      <p:ext uri="{BB962C8B-B14F-4D97-AF65-F5344CB8AC3E}">
        <p14:creationId xmlns:p14="http://schemas.microsoft.com/office/powerpoint/2010/main" val="23091721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3D6E3-FB7F-4C4D-9319-88C2C18BEBF9}"/>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327AFCDA-2DE2-4593-A3EC-698B69053792}"/>
              </a:ext>
            </a:extLst>
          </p:cNvPr>
          <p:cNvSpPr>
            <a:spLocks noGrp="1"/>
          </p:cNvSpPr>
          <p:nvPr>
            <p:ph type="ftr" sz="quarter" idx="10"/>
          </p:nvPr>
        </p:nvSpPr>
        <p:spPr/>
        <p:txBody>
          <a:bodyPr/>
          <a:lstStyle/>
          <a:p>
            <a:pPr algn="ctr"/>
            <a:r>
              <a:rPr lang="en-GB"/>
              <a:t>The Low Carbon Vehicle Partnership</a:t>
            </a:r>
            <a:endParaRPr lang="en-GB" dirty="0"/>
          </a:p>
        </p:txBody>
      </p:sp>
      <p:sp>
        <p:nvSpPr>
          <p:cNvPr id="4" name="Slide Number Placeholder 3">
            <a:extLst>
              <a:ext uri="{FF2B5EF4-FFF2-40B4-BE49-F238E27FC236}">
                <a16:creationId xmlns:a16="http://schemas.microsoft.com/office/drawing/2014/main" id="{2C04409F-B47B-4FE1-A1D1-8E2263F55344}"/>
              </a:ext>
            </a:extLst>
          </p:cNvPr>
          <p:cNvSpPr>
            <a:spLocks noGrp="1"/>
          </p:cNvSpPr>
          <p:nvPr>
            <p:ph type="sldNum" sz="quarter" idx="11"/>
          </p:nvPr>
        </p:nvSpPr>
        <p:spPr/>
        <p:txBody>
          <a:bodyPr/>
          <a:lstStyle/>
          <a:p>
            <a:endParaRPr lang="en-GB" dirty="0"/>
          </a:p>
        </p:txBody>
      </p:sp>
      <p:sp>
        <p:nvSpPr>
          <p:cNvPr id="6" name="Text Placeholder 2">
            <a:extLst>
              <a:ext uri="{FF2B5EF4-FFF2-40B4-BE49-F238E27FC236}">
                <a16:creationId xmlns:a16="http://schemas.microsoft.com/office/drawing/2014/main" id="{7CE4342A-2955-46E6-B4A6-D8CAC86745E7}"/>
              </a:ext>
            </a:extLst>
          </p:cNvPr>
          <p:cNvSpPr>
            <a:spLocks noGrp="1"/>
          </p:cNvSpPr>
          <p:nvPr>
            <p:ph idx="12"/>
          </p:nvPr>
        </p:nvSpPr>
        <p:spPr>
          <a:xfrm>
            <a:off x="115410" y="1012055"/>
            <a:ext cx="11937151" cy="5266978"/>
          </a:xfrm>
          <a:prstGeom prst="rect">
            <a:avLst/>
          </a:prstGeom>
        </p:spPr>
        <p:txBody>
          <a:bodyPr vert="horz" lIns="45720" tIns="45720" rIns="45720" bIns="45720" rtlCol="0">
            <a:norm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657554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0A292A-928B-4A0F-88F6-021C919FA08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4F54BFA-427D-477D-9FA8-25BFEEE7DE0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94A9B97-F14C-46BD-81E8-81F24F1AC781}"/>
              </a:ext>
            </a:extLst>
          </p:cNvPr>
          <p:cNvSpPr>
            <a:spLocks noGrp="1"/>
          </p:cNvSpPr>
          <p:nvPr>
            <p:ph type="dt" sz="half" idx="10"/>
          </p:nvPr>
        </p:nvSpPr>
        <p:spPr/>
        <p:txBody>
          <a:bodyPr/>
          <a:lstStyle/>
          <a:p>
            <a:fld id="{A59701DA-29EC-4E32-89E1-A3DA74F3A401}" type="datetimeFigureOut">
              <a:rPr lang="en-GB" smtClean="0"/>
              <a:t>10/11/2021</a:t>
            </a:fld>
            <a:endParaRPr lang="en-GB"/>
          </a:p>
        </p:txBody>
      </p:sp>
      <p:sp>
        <p:nvSpPr>
          <p:cNvPr id="5" name="Footer Placeholder 4">
            <a:extLst>
              <a:ext uri="{FF2B5EF4-FFF2-40B4-BE49-F238E27FC236}">
                <a16:creationId xmlns:a16="http://schemas.microsoft.com/office/drawing/2014/main" id="{1D140798-07B8-4EAA-8E94-36881CB8798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E888DE0-7E1B-4445-B387-186473A98532}"/>
              </a:ext>
            </a:extLst>
          </p:cNvPr>
          <p:cNvSpPr>
            <a:spLocks noGrp="1"/>
          </p:cNvSpPr>
          <p:nvPr>
            <p:ph type="sldNum" sz="quarter" idx="12"/>
          </p:nvPr>
        </p:nvSpPr>
        <p:spPr/>
        <p:txBody>
          <a:bodyPr/>
          <a:lstStyle/>
          <a:p>
            <a:fld id="{FA0F741E-20DA-499B-884B-BBD8C8D92557}" type="slidenum">
              <a:rPr lang="en-GB" smtClean="0"/>
              <a:t>‹#›</a:t>
            </a:fld>
            <a:endParaRPr lang="en-GB"/>
          </a:p>
        </p:txBody>
      </p:sp>
    </p:spTree>
    <p:extLst>
      <p:ext uri="{BB962C8B-B14F-4D97-AF65-F5344CB8AC3E}">
        <p14:creationId xmlns:p14="http://schemas.microsoft.com/office/powerpoint/2010/main" val="38331168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3">
    <p:bg>
      <p:bgPr>
        <a:solidFill>
          <a:schemeClr val="bg1"/>
        </a:solidFill>
        <a:effectLst/>
      </p:bgPr>
    </p:bg>
    <p:spTree>
      <p:nvGrpSpPr>
        <p:cNvPr id="1" name=""/>
        <p:cNvGrpSpPr/>
        <p:nvPr/>
      </p:nvGrpSpPr>
      <p:grpSpPr>
        <a:xfrm>
          <a:off x="0" y="0"/>
          <a:ext cx="0" cy="0"/>
          <a:chOff x="0" y="0"/>
          <a:chExt cx="0" cy="0"/>
        </a:xfrm>
      </p:grpSpPr>
      <p:sp>
        <p:nvSpPr>
          <p:cNvPr id="162" name="Freeform 5">
            <a:extLst>
              <a:ext uri="{FF2B5EF4-FFF2-40B4-BE49-F238E27FC236}">
                <a16:creationId xmlns:a16="http://schemas.microsoft.com/office/drawing/2014/main" id="{ECEAA9E9-0816-4CCA-81F8-336EB3FC0F50}"/>
              </a:ext>
            </a:extLst>
          </p:cNvPr>
          <p:cNvSpPr>
            <a:spLocks/>
          </p:cNvSpPr>
          <p:nvPr/>
        </p:nvSpPr>
        <p:spPr bwMode="auto">
          <a:xfrm>
            <a:off x="-18555" y="978"/>
            <a:ext cx="7343775" cy="6858000"/>
          </a:xfrm>
          <a:custGeom>
            <a:avLst/>
            <a:gdLst>
              <a:gd name="T0" fmla="*/ 0 w 7714"/>
              <a:gd name="T1" fmla="*/ 0 h 7199"/>
              <a:gd name="T2" fmla="*/ 0 w 7714"/>
              <a:gd name="T3" fmla="*/ 0 h 7199"/>
              <a:gd name="T4" fmla="*/ 7714 w 7714"/>
              <a:gd name="T5" fmla="*/ 0 h 7199"/>
              <a:gd name="T6" fmla="*/ 7714 w 7714"/>
              <a:gd name="T7" fmla="*/ 7199 h 7199"/>
              <a:gd name="T8" fmla="*/ 0 w 7714"/>
              <a:gd name="T9" fmla="*/ 7199 h 7199"/>
              <a:gd name="T10" fmla="*/ 0 w 7714"/>
              <a:gd name="T11" fmla="*/ 0 h 7199"/>
            </a:gdLst>
            <a:ahLst/>
            <a:cxnLst>
              <a:cxn ang="0">
                <a:pos x="T0" y="T1"/>
              </a:cxn>
              <a:cxn ang="0">
                <a:pos x="T2" y="T3"/>
              </a:cxn>
              <a:cxn ang="0">
                <a:pos x="T4" y="T5"/>
              </a:cxn>
              <a:cxn ang="0">
                <a:pos x="T6" y="T7"/>
              </a:cxn>
              <a:cxn ang="0">
                <a:pos x="T8" y="T9"/>
              </a:cxn>
              <a:cxn ang="0">
                <a:pos x="T10" y="T11"/>
              </a:cxn>
            </a:cxnLst>
            <a:rect l="0" t="0" r="r" b="b"/>
            <a:pathLst>
              <a:path w="7714" h="7199">
                <a:moveTo>
                  <a:pt x="0" y="0"/>
                </a:moveTo>
                <a:lnTo>
                  <a:pt x="0" y="0"/>
                </a:lnTo>
                <a:lnTo>
                  <a:pt x="7714" y="0"/>
                </a:lnTo>
                <a:lnTo>
                  <a:pt x="7714" y="7199"/>
                </a:lnTo>
                <a:lnTo>
                  <a:pt x="0" y="7199"/>
                </a:ln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a:extLst>
              <a:ext uri="{FF2B5EF4-FFF2-40B4-BE49-F238E27FC236}">
                <a16:creationId xmlns:a16="http://schemas.microsoft.com/office/drawing/2014/main" id="{6E57FC1A-D1D7-41DF-9C38-132EB0022C80}"/>
              </a:ext>
            </a:extLst>
          </p:cNvPr>
          <p:cNvSpPr>
            <a:spLocks noGrp="1"/>
          </p:cNvSpPr>
          <p:nvPr userDrawn="1">
            <p:ph type="ctrTitle" hasCustomPrompt="1"/>
          </p:nvPr>
        </p:nvSpPr>
        <p:spPr>
          <a:xfrm>
            <a:off x="386590" y="3049872"/>
            <a:ext cx="6205329" cy="2896402"/>
          </a:xfrm>
          <a:noFill/>
        </p:spPr>
        <p:txBody>
          <a:bodyPr anchor="t" anchorCtr="0">
            <a:noAutofit/>
          </a:bodyPr>
          <a:lstStyle>
            <a:lvl1pPr algn="l">
              <a:defRPr sz="4200">
                <a:solidFill>
                  <a:schemeClr val="accent1"/>
                </a:solidFill>
              </a:defRPr>
            </a:lvl1pPr>
          </a:lstStyle>
          <a:p>
            <a:r>
              <a:rPr lang="en-US"/>
              <a:t>Click to add document and/or subject title here</a:t>
            </a:r>
            <a:endParaRPr lang="en-GB"/>
          </a:p>
        </p:txBody>
      </p:sp>
      <p:sp>
        <p:nvSpPr>
          <p:cNvPr id="3" name="Subtitle 2">
            <a:extLst>
              <a:ext uri="{FF2B5EF4-FFF2-40B4-BE49-F238E27FC236}">
                <a16:creationId xmlns:a16="http://schemas.microsoft.com/office/drawing/2014/main" id="{00A92183-67E0-42C7-899A-3D39BFAEA1EB}"/>
              </a:ext>
            </a:extLst>
          </p:cNvPr>
          <p:cNvSpPr>
            <a:spLocks noGrp="1"/>
          </p:cNvSpPr>
          <p:nvPr userDrawn="1">
            <p:ph type="subTitle" idx="1" hasCustomPrompt="1"/>
          </p:nvPr>
        </p:nvSpPr>
        <p:spPr>
          <a:xfrm>
            <a:off x="386590" y="5969695"/>
            <a:ext cx="6206400" cy="215444"/>
          </a:xfrm>
        </p:spPr>
        <p:txBody>
          <a:bodyPr>
            <a:spAutoFit/>
          </a:bodyPr>
          <a:lstStyle>
            <a:lvl1pPr marL="0" indent="0" algn="l">
              <a:buNone/>
              <a:defRPr sz="1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ate here</a:t>
            </a:r>
            <a:endParaRPr lang="en-GB"/>
          </a:p>
        </p:txBody>
      </p:sp>
      <p:sp>
        <p:nvSpPr>
          <p:cNvPr id="4" name="Date Placeholder 3">
            <a:extLst>
              <a:ext uri="{FF2B5EF4-FFF2-40B4-BE49-F238E27FC236}">
                <a16:creationId xmlns:a16="http://schemas.microsoft.com/office/drawing/2014/main" id="{8DA7B571-A906-45BD-9E11-7E7DC4D909FA}"/>
              </a:ext>
            </a:extLst>
          </p:cNvPr>
          <p:cNvSpPr>
            <a:spLocks noGrp="1"/>
          </p:cNvSpPr>
          <p:nvPr userDrawn="1">
            <p:ph type="dt" sz="half" idx="10"/>
          </p:nvPr>
        </p:nvSpPr>
        <p:spPr/>
        <p:txBody>
          <a:bodyPr/>
          <a:lstStyle/>
          <a:p>
            <a:fld id="{877C9AA6-E1F1-4BC8-889B-E28042ED2AEF}" type="datetime6">
              <a:rPr lang="en-GB" smtClean="0"/>
              <a:t>November 21</a:t>
            </a:fld>
            <a:endParaRPr lang="en-GB"/>
          </a:p>
        </p:txBody>
      </p:sp>
      <p:sp>
        <p:nvSpPr>
          <p:cNvPr id="5" name="Footer Placeholder 4">
            <a:extLst>
              <a:ext uri="{FF2B5EF4-FFF2-40B4-BE49-F238E27FC236}">
                <a16:creationId xmlns:a16="http://schemas.microsoft.com/office/drawing/2014/main" id="{F66FCE6B-5B1A-451B-9EA1-51D3FF4FC0DC}"/>
              </a:ext>
            </a:extLst>
          </p:cNvPr>
          <p:cNvSpPr>
            <a:spLocks noGrp="1"/>
          </p:cNvSpPr>
          <p:nvPr userDrawn="1">
            <p:ph type="ftr" sz="quarter" idx="11"/>
          </p:nvPr>
        </p:nvSpPr>
        <p:spPr>
          <a:xfrm>
            <a:off x="386590" y="6350000"/>
            <a:ext cx="8520076" cy="153888"/>
          </a:xfrm>
        </p:spPr>
        <p:txBody>
          <a:bodyPr/>
          <a:lstStyle/>
          <a:p>
            <a:endParaRPr lang="en-GB"/>
          </a:p>
        </p:txBody>
      </p:sp>
      <p:sp>
        <p:nvSpPr>
          <p:cNvPr id="6" name="Slide Number Placeholder 5">
            <a:extLst>
              <a:ext uri="{FF2B5EF4-FFF2-40B4-BE49-F238E27FC236}">
                <a16:creationId xmlns:a16="http://schemas.microsoft.com/office/drawing/2014/main" id="{F27A0F01-F708-4994-9A0A-7F4EBDB76BCE}"/>
              </a:ext>
            </a:extLst>
          </p:cNvPr>
          <p:cNvSpPr>
            <a:spLocks noGrp="1"/>
          </p:cNvSpPr>
          <p:nvPr userDrawn="1">
            <p:ph type="sldNum" sz="quarter" idx="12"/>
          </p:nvPr>
        </p:nvSpPr>
        <p:spPr/>
        <p:txBody>
          <a:bodyPr/>
          <a:lstStyle/>
          <a:p>
            <a:fld id="{F4186869-B628-4395-96ED-AD53145CB3D4}" type="slidenum">
              <a:rPr lang="en-GB" smtClean="0"/>
              <a:t>‹#›</a:t>
            </a:fld>
            <a:endParaRPr lang="en-GB"/>
          </a:p>
        </p:txBody>
      </p:sp>
      <p:grpSp>
        <p:nvGrpSpPr>
          <p:cNvPr id="160" name="Group 159">
            <a:extLst>
              <a:ext uri="{FF2B5EF4-FFF2-40B4-BE49-F238E27FC236}">
                <a16:creationId xmlns:a16="http://schemas.microsoft.com/office/drawing/2014/main" id="{64EF11E3-752C-4F67-ABF8-2A671901E44F}"/>
              </a:ext>
            </a:extLst>
          </p:cNvPr>
          <p:cNvGrpSpPr/>
          <p:nvPr userDrawn="1"/>
        </p:nvGrpSpPr>
        <p:grpSpPr>
          <a:xfrm>
            <a:off x="6591919" y="-49614"/>
            <a:ext cx="757024" cy="6957228"/>
            <a:chOff x="4219340" y="-46301"/>
            <a:chExt cx="757024" cy="6957228"/>
          </a:xfrm>
        </p:grpSpPr>
        <p:pic>
          <p:nvPicPr>
            <p:cNvPr id="289" name="Picture 288">
              <a:extLst>
                <a:ext uri="{FF2B5EF4-FFF2-40B4-BE49-F238E27FC236}">
                  <a16:creationId xmlns:a16="http://schemas.microsoft.com/office/drawing/2014/main" id="{532568E0-4479-4351-A48D-0FD3084944F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19340" y="-46301"/>
              <a:ext cx="757024" cy="3802933"/>
            </a:xfrm>
            <a:prstGeom prst="rect">
              <a:avLst/>
            </a:prstGeom>
          </p:spPr>
        </p:pic>
        <p:pic>
          <p:nvPicPr>
            <p:cNvPr id="290" name="Picture 289">
              <a:extLst>
                <a:ext uri="{FF2B5EF4-FFF2-40B4-BE49-F238E27FC236}">
                  <a16:creationId xmlns:a16="http://schemas.microsoft.com/office/drawing/2014/main" id="{BF113841-6DB1-4688-ACA6-D419F70C96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19340" y="3175001"/>
              <a:ext cx="757024" cy="3735926"/>
            </a:xfrm>
            <a:prstGeom prst="rect">
              <a:avLst/>
            </a:prstGeom>
          </p:spPr>
        </p:pic>
      </p:grpSp>
      <p:pic>
        <p:nvPicPr>
          <p:cNvPr id="36" name="Picture 35" descr="A picture containing clock, meter&#10;&#10;Description automatically generated">
            <a:extLst>
              <a:ext uri="{FF2B5EF4-FFF2-40B4-BE49-F238E27FC236}">
                <a16:creationId xmlns:a16="http://schemas.microsoft.com/office/drawing/2014/main" id="{8C8435E4-03D1-4EAE-A6A3-59F8F25A7BF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240038" y="354112"/>
            <a:ext cx="2686047" cy="339724"/>
          </a:xfrm>
          <a:prstGeom prst="rect">
            <a:avLst/>
          </a:prstGeom>
        </p:spPr>
      </p:pic>
    </p:spTree>
    <p:extLst>
      <p:ext uri="{BB962C8B-B14F-4D97-AF65-F5344CB8AC3E}">
        <p14:creationId xmlns:p14="http://schemas.microsoft.com/office/powerpoint/2010/main" val="1412944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AD59D2B-CD21-48D9-A10F-A2E3332247C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
          <a:stretch/>
        </p:blipFill>
        <p:spPr>
          <a:xfrm>
            <a:off x="0" y="-1"/>
            <a:ext cx="12192000" cy="6858001"/>
          </a:xfrm>
          <a:prstGeom prst="rect">
            <a:avLst/>
          </a:prstGeom>
        </p:spPr>
      </p:pic>
      <p:sp>
        <p:nvSpPr>
          <p:cNvPr id="16" name="Title 1">
            <a:extLst>
              <a:ext uri="{FF2B5EF4-FFF2-40B4-BE49-F238E27FC236}">
                <a16:creationId xmlns:a16="http://schemas.microsoft.com/office/drawing/2014/main" id="{3CDC1F25-336E-4B7B-9B58-F607253E45C8}"/>
              </a:ext>
            </a:extLst>
          </p:cNvPr>
          <p:cNvSpPr>
            <a:spLocks noGrp="1"/>
          </p:cNvSpPr>
          <p:nvPr>
            <p:ph type="ctrTitle" hasCustomPrompt="1"/>
          </p:nvPr>
        </p:nvSpPr>
        <p:spPr>
          <a:xfrm>
            <a:off x="454026" y="1292224"/>
            <a:ext cx="7477125" cy="709613"/>
          </a:xfrm>
        </p:spPr>
        <p:txBody>
          <a:bodyPr anchor="b"/>
          <a:lstStyle>
            <a:lvl1pPr algn="l">
              <a:defRPr sz="2800">
                <a:solidFill>
                  <a:schemeClr val="bg1"/>
                </a:solidFill>
              </a:defRPr>
            </a:lvl1pPr>
          </a:lstStyle>
          <a:p>
            <a:r>
              <a:rPr lang="en-US" dirty="0"/>
              <a:t>Cover heading</a:t>
            </a:r>
            <a:endParaRPr lang="en-GB" dirty="0"/>
          </a:p>
        </p:txBody>
      </p:sp>
      <p:sp>
        <p:nvSpPr>
          <p:cNvPr id="17" name="Subtitle 2">
            <a:extLst>
              <a:ext uri="{FF2B5EF4-FFF2-40B4-BE49-F238E27FC236}">
                <a16:creationId xmlns:a16="http://schemas.microsoft.com/office/drawing/2014/main" id="{41092413-28F2-4D8A-9F6A-727AF9C5902D}"/>
              </a:ext>
            </a:extLst>
          </p:cNvPr>
          <p:cNvSpPr>
            <a:spLocks noGrp="1"/>
          </p:cNvSpPr>
          <p:nvPr>
            <p:ph type="subTitle" idx="1" hasCustomPrompt="1"/>
          </p:nvPr>
        </p:nvSpPr>
        <p:spPr>
          <a:xfrm>
            <a:off x="454026" y="2049465"/>
            <a:ext cx="7477125" cy="572903"/>
          </a:xfrm>
        </p:spPr>
        <p:txBody>
          <a:bodyPr/>
          <a:lstStyle>
            <a:lvl1pPr marL="0" indent="0" algn="l">
              <a:buNone/>
              <a:defRPr sz="2000">
                <a:solidFill>
                  <a:schemeClr val="bg1"/>
                </a:solidFill>
                <a:latin typeface="Poppins Medium" panose="02000000000000000000" pitchFamily="2" charset="0"/>
                <a:cs typeface="Poppins Medium" panose="02000000000000000000"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heading</a:t>
            </a:r>
            <a:endParaRPr lang="en-GB" dirty="0"/>
          </a:p>
        </p:txBody>
      </p:sp>
      <p:sp>
        <p:nvSpPr>
          <p:cNvPr id="18" name="Text Placeholder 9">
            <a:extLst>
              <a:ext uri="{FF2B5EF4-FFF2-40B4-BE49-F238E27FC236}">
                <a16:creationId xmlns:a16="http://schemas.microsoft.com/office/drawing/2014/main" id="{43E646EC-1763-430F-91F9-2160DDE242B3}"/>
              </a:ext>
            </a:extLst>
          </p:cNvPr>
          <p:cNvSpPr>
            <a:spLocks noGrp="1"/>
          </p:cNvSpPr>
          <p:nvPr>
            <p:ph type="body" sz="quarter" idx="10" hasCustomPrompt="1"/>
          </p:nvPr>
        </p:nvSpPr>
        <p:spPr>
          <a:xfrm>
            <a:off x="466726" y="3133725"/>
            <a:ext cx="5532423" cy="295275"/>
          </a:xfrm>
        </p:spPr>
        <p:txBody>
          <a:bodyPr/>
          <a:lstStyle>
            <a:lvl1pPr marL="0" indent="0">
              <a:buNone/>
              <a:defRPr sz="1600">
                <a:solidFill>
                  <a:schemeClr val="bg1"/>
                </a:solidFill>
                <a:latin typeface="Poppins Light" panose="02000000000000000000" pitchFamily="2" charset="0"/>
                <a:cs typeface="Poppins Light" panose="02000000000000000000" pitchFamily="2" charset="0"/>
              </a:defRPr>
            </a:lvl1pPr>
            <a:lvl2pPr marL="246057" indent="0">
              <a:buNone/>
              <a:defRPr sz="1700">
                <a:solidFill>
                  <a:schemeClr val="bg1"/>
                </a:solidFill>
                <a:latin typeface="Poppins Light" panose="02000000000000000000" pitchFamily="2" charset="0"/>
                <a:cs typeface="Poppins Light" panose="02000000000000000000" pitchFamily="2" charset="0"/>
              </a:defRPr>
            </a:lvl2pPr>
            <a:lvl3pPr marL="517512" indent="0">
              <a:buNone/>
              <a:defRPr sz="1700">
                <a:solidFill>
                  <a:schemeClr val="bg1"/>
                </a:solidFill>
                <a:latin typeface="Poppins Light" panose="02000000000000000000" pitchFamily="2" charset="0"/>
                <a:cs typeface="Poppins Light" panose="02000000000000000000" pitchFamily="2" charset="0"/>
              </a:defRPr>
            </a:lvl3pPr>
            <a:lvl4pPr marL="763569" indent="0">
              <a:buNone/>
              <a:defRPr sz="1700">
                <a:solidFill>
                  <a:schemeClr val="bg1"/>
                </a:solidFill>
                <a:latin typeface="Poppins Light" panose="02000000000000000000" pitchFamily="2" charset="0"/>
                <a:cs typeface="Poppins Light" panose="02000000000000000000" pitchFamily="2" charset="0"/>
              </a:defRPr>
            </a:lvl4pPr>
            <a:lvl5pPr marL="1057248" indent="0">
              <a:buNone/>
              <a:defRPr sz="1700">
                <a:solidFill>
                  <a:schemeClr val="bg1"/>
                </a:solidFill>
                <a:latin typeface="Poppins Light" panose="02000000000000000000" pitchFamily="2" charset="0"/>
                <a:cs typeface="Poppins Light" panose="02000000000000000000" pitchFamily="2" charset="0"/>
              </a:defRPr>
            </a:lvl5pPr>
          </a:lstStyle>
          <a:p>
            <a:pPr lvl="0"/>
            <a:r>
              <a:rPr lang="en-US" dirty="0"/>
              <a:t>V[X] DD.MM.YY</a:t>
            </a:r>
            <a:endParaRPr lang="en-GB" dirty="0"/>
          </a:p>
        </p:txBody>
      </p:sp>
      <p:sp>
        <p:nvSpPr>
          <p:cNvPr id="19" name="TextBox 18">
            <a:extLst>
              <a:ext uri="{FF2B5EF4-FFF2-40B4-BE49-F238E27FC236}">
                <a16:creationId xmlns:a16="http://schemas.microsoft.com/office/drawing/2014/main" id="{A3769AA7-1EC7-4450-94B7-9D3AC6096E31}"/>
              </a:ext>
            </a:extLst>
          </p:cNvPr>
          <p:cNvSpPr txBox="1"/>
          <p:nvPr userDrawn="1"/>
        </p:nvSpPr>
        <p:spPr>
          <a:xfrm>
            <a:off x="371476" y="2625439"/>
            <a:ext cx="5627673" cy="338554"/>
          </a:xfrm>
          <a:prstGeom prst="rect">
            <a:avLst/>
          </a:prstGeom>
          <a:noFill/>
        </p:spPr>
        <p:txBody>
          <a:bodyPr wrap="square" rtlCol="0">
            <a:spAutoFit/>
          </a:bodyPr>
          <a:lstStyle/>
          <a:p>
            <a:r>
              <a:rPr lang="en-GB" sz="1600" kern="1200" dirty="0">
                <a:solidFill>
                  <a:schemeClr val="bg1"/>
                </a:solidFill>
                <a:latin typeface="Poppins Light" panose="02000000000000000000" pitchFamily="2" charset="0"/>
                <a:ea typeface="+mn-ea"/>
                <a:cs typeface="Poppins Light" panose="02000000000000000000" pitchFamily="2" charset="0"/>
              </a:rPr>
              <a:t>Document prepared by </a:t>
            </a:r>
            <a:r>
              <a:rPr lang="en-GB" sz="1600" kern="1200" dirty="0" err="1">
                <a:solidFill>
                  <a:schemeClr val="bg1"/>
                </a:solidFill>
                <a:latin typeface="Poppins Light" panose="02000000000000000000" pitchFamily="2" charset="0"/>
                <a:ea typeface="+mn-ea"/>
                <a:cs typeface="Poppins Light" panose="02000000000000000000" pitchFamily="2" charset="0"/>
              </a:rPr>
              <a:t>Zemo</a:t>
            </a:r>
            <a:r>
              <a:rPr lang="en-GB" sz="1600" kern="1200" dirty="0">
                <a:solidFill>
                  <a:schemeClr val="bg1"/>
                </a:solidFill>
                <a:latin typeface="Poppins Light" panose="02000000000000000000" pitchFamily="2" charset="0"/>
                <a:ea typeface="+mn-ea"/>
                <a:cs typeface="Poppins Light" panose="02000000000000000000" pitchFamily="2" charset="0"/>
              </a:rPr>
              <a:t> Partnership</a:t>
            </a:r>
          </a:p>
        </p:txBody>
      </p:sp>
      <p:sp>
        <p:nvSpPr>
          <p:cNvPr id="20" name="TextBox 19">
            <a:extLst>
              <a:ext uri="{FF2B5EF4-FFF2-40B4-BE49-F238E27FC236}">
                <a16:creationId xmlns:a16="http://schemas.microsoft.com/office/drawing/2014/main" id="{0875A574-2E7C-4887-B5DB-501356CB93F3}"/>
              </a:ext>
            </a:extLst>
          </p:cNvPr>
          <p:cNvSpPr txBox="1"/>
          <p:nvPr userDrawn="1"/>
        </p:nvSpPr>
        <p:spPr>
          <a:xfrm>
            <a:off x="373711" y="6336123"/>
            <a:ext cx="3872287" cy="338554"/>
          </a:xfrm>
          <a:prstGeom prst="rect">
            <a:avLst/>
          </a:prstGeom>
          <a:noFill/>
        </p:spPr>
        <p:txBody>
          <a:bodyPr wrap="square" rtlCol="0">
            <a:spAutoFit/>
          </a:bodyPr>
          <a:lstStyle/>
          <a:p>
            <a:r>
              <a:rPr lang="en-GB" sz="800" dirty="0">
                <a:solidFill>
                  <a:schemeClr val="bg1"/>
                </a:solidFill>
                <a:latin typeface="Poppins Medium" panose="02000000000000000000" pitchFamily="2" charset="0"/>
                <a:cs typeface="Poppins Medium" panose="02000000000000000000" pitchFamily="2" charset="0"/>
              </a:rPr>
              <a:t>Strictly private and confidential</a:t>
            </a:r>
          </a:p>
          <a:p>
            <a:r>
              <a:rPr lang="en-GB" sz="800" dirty="0" err="1">
                <a:solidFill>
                  <a:schemeClr val="bg1"/>
                </a:solidFill>
                <a:latin typeface="Poppins Light" panose="02000000000000000000" pitchFamily="2" charset="0"/>
                <a:cs typeface="Poppins Light" panose="02000000000000000000" pitchFamily="2" charset="0"/>
              </a:rPr>
              <a:t>Zemo</a:t>
            </a:r>
            <a:r>
              <a:rPr lang="en-GB" sz="800" dirty="0">
                <a:solidFill>
                  <a:schemeClr val="bg1"/>
                </a:solidFill>
                <a:latin typeface="Poppins Light" panose="02000000000000000000" pitchFamily="2" charset="0"/>
                <a:cs typeface="Poppins Light" panose="02000000000000000000" pitchFamily="2" charset="0"/>
              </a:rPr>
              <a:t> Partnership © Copyright 2021</a:t>
            </a:r>
          </a:p>
        </p:txBody>
      </p:sp>
      <p:pic>
        <p:nvPicPr>
          <p:cNvPr id="21" name="Picture 20">
            <a:extLst>
              <a:ext uri="{FF2B5EF4-FFF2-40B4-BE49-F238E27FC236}">
                <a16:creationId xmlns:a16="http://schemas.microsoft.com/office/drawing/2014/main" id="{CCAC3C35-AFC4-4898-9214-536B751EA27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800891" y="155564"/>
            <a:ext cx="4210135" cy="1731975"/>
          </a:xfrm>
          <a:prstGeom prst="rect">
            <a:avLst/>
          </a:prstGeom>
        </p:spPr>
      </p:pic>
    </p:spTree>
    <p:extLst>
      <p:ext uri="{BB962C8B-B14F-4D97-AF65-F5344CB8AC3E}">
        <p14:creationId xmlns:p14="http://schemas.microsoft.com/office/powerpoint/2010/main" val="33667865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elcome slide">
    <p:spTree>
      <p:nvGrpSpPr>
        <p:cNvPr id="1" name=""/>
        <p:cNvGrpSpPr/>
        <p:nvPr/>
      </p:nvGrpSpPr>
      <p:grpSpPr>
        <a:xfrm>
          <a:off x="0" y="0"/>
          <a:ext cx="0" cy="0"/>
          <a:chOff x="0" y="0"/>
          <a:chExt cx="0" cy="0"/>
        </a:xfrm>
      </p:grpSpPr>
      <p:sp>
        <p:nvSpPr>
          <p:cNvPr id="113" name="Rectangle 112">
            <a:extLst>
              <a:ext uri="{FF2B5EF4-FFF2-40B4-BE49-F238E27FC236}">
                <a16:creationId xmlns:a16="http://schemas.microsoft.com/office/drawing/2014/main" id="{A4324F8C-6180-4AF9-98F0-06A2DC0D016F}"/>
              </a:ext>
            </a:extLst>
          </p:cNvPr>
          <p:cNvSpPr/>
          <p:nvPr userDrawn="1"/>
        </p:nvSpPr>
        <p:spPr>
          <a:xfrm>
            <a:off x="7410450" y="2"/>
            <a:ext cx="4679951" cy="14537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pic>
        <p:nvPicPr>
          <p:cNvPr id="4" name="Picture 3">
            <a:extLst>
              <a:ext uri="{FF2B5EF4-FFF2-40B4-BE49-F238E27FC236}">
                <a16:creationId xmlns:a16="http://schemas.microsoft.com/office/drawing/2014/main" id="{49723DD5-EB76-4DE3-BEAD-43111479518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378"/>
            <a:ext cx="12192000" cy="6849245"/>
          </a:xfrm>
          <a:prstGeom prst="rect">
            <a:avLst/>
          </a:prstGeom>
        </p:spPr>
      </p:pic>
      <p:sp>
        <p:nvSpPr>
          <p:cNvPr id="10" name="Text Placeholder 9">
            <a:extLst>
              <a:ext uri="{FF2B5EF4-FFF2-40B4-BE49-F238E27FC236}">
                <a16:creationId xmlns:a16="http://schemas.microsoft.com/office/drawing/2014/main" id="{F17F64DC-56E0-458F-A3CF-F3466E54783B}"/>
              </a:ext>
            </a:extLst>
          </p:cNvPr>
          <p:cNvSpPr>
            <a:spLocks noGrp="1"/>
          </p:cNvSpPr>
          <p:nvPr>
            <p:ph type="body" sz="quarter" idx="11" hasCustomPrompt="1"/>
          </p:nvPr>
        </p:nvSpPr>
        <p:spPr>
          <a:xfrm>
            <a:off x="472355" y="2285065"/>
            <a:ext cx="6814271" cy="947739"/>
          </a:xfrm>
        </p:spPr>
        <p:txBody>
          <a:bodyPr anchor="b"/>
          <a:lstStyle>
            <a:lvl1pPr marL="0" indent="0">
              <a:buNone/>
              <a:defRPr lang="en-GB" sz="2800" kern="1200" dirty="0">
                <a:solidFill>
                  <a:schemeClr val="tx1"/>
                </a:solidFill>
                <a:latin typeface="Poppins SemiBold" panose="02000000000000000000" pitchFamily="2" charset="0"/>
                <a:ea typeface="+mn-ea"/>
                <a:cs typeface="Poppins SemiBold" panose="02000000000000000000" pitchFamily="2" charset="0"/>
              </a:defRPr>
            </a:lvl1pPr>
            <a:lvl2pPr marL="246057" indent="0">
              <a:buNone/>
              <a:defRPr/>
            </a:lvl2pPr>
            <a:lvl3pPr marL="517512" indent="0">
              <a:buNone/>
              <a:defRPr/>
            </a:lvl3pPr>
            <a:lvl4pPr marL="763569" indent="0">
              <a:buNone/>
              <a:defRPr/>
            </a:lvl4pPr>
            <a:lvl5pPr marL="1057248" indent="0">
              <a:buNone/>
              <a:defRPr/>
            </a:lvl5pPr>
          </a:lstStyle>
          <a:p>
            <a:pPr lvl="0"/>
            <a:r>
              <a:rPr lang="en-US" dirty="0"/>
              <a:t>Welcome message</a:t>
            </a:r>
            <a:endParaRPr lang="en-GB" dirty="0"/>
          </a:p>
        </p:txBody>
      </p:sp>
      <p:sp>
        <p:nvSpPr>
          <p:cNvPr id="13" name="Text Placeholder 9">
            <a:extLst>
              <a:ext uri="{FF2B5EF4-FFF2-40B4-BE49-F238E27FC236}">
                <a16:creationId xmlns:a16="http://schemas.microsoft.com/office/drawing/2014/main" id="{1330728E-CCE2-49A6-BF72-C9DC5C2E8A97}"/>
              </a:ext>
            </a:extLst>
          </p:cNvPr>
          <p:cNvSpPr>
            <a:spLocks noGrp="1"/>
          </p:cNvSpPr>
          <p:nvPr>
            <p:ph type="body" sz="quarter" idx="12" hasCustomPrompt="1"/>
          </p:nvPr>
        </p:nvSpPr>
        <p:spPr>
          <a:xfrm>
            <a:off x="472355" y="3352799"/>
            <a:ext cx="6814271" cy="947739"/>
          </a:xfrm>
        </p:spPr>
        <p:txBody>
          <a:bodyPr anchor="t"/>
          <a:lstStyle>
            <a:lvl1pPr marL="0" indent="0">
              <a:lnSpc>
                <a:spcPct val="125000"/>
              </a:lnSpc>
              <a:buNone/>
              <a:defRPr lang="en-GB" sz="2000" kern="1200" dirty="0">
                <a:solidFill>
                  <a:schemeClr val="tx1"/>
                </a:solidFill>
                <a:latin typeface="Poppins" panose="02000000000000000000" pitchFamily="2" charset="0"/>
                <a:ea typeface="+mn-ea"/>
                <a:cs typeface="Poppins" panose="02000000000000000000" pitchFamily="2" charset="0"/>
              </a:defRPr>
            </a:lvl1pPr>
            <a:lvl2pPr marL="246057" indent="0">
              <a:buNone/>
              <a:defRPr/>
            </a:lvl2pPr>
            <a:lvl3pPr marL="517512" indent="0">
              <a:buNone/>
              <a:defRPr/>
            </a:lvl3pPr>
            <a:lvl4pPr marL="763569" indent="0">
              <a:buNone/>
              <a:defRPr/>
            </a:lvl4pPr>
            <a:lvl5pPr marL="1057248" indent="0">
              <a:buNone/>
              <a:defRPr/>
            </a:lvl5pPr>
          </a:lstStyle>
          <a:p>
            <a:pPr marL="0" lvl="0" indent="0" algn="l" defTabSz="914377" rtl="0" eaLnBrk="1" latinLnBrk="0" hangingPunct="1">
              <a:lnSpc>
                <a:spcPct val="105000"/>
              </a:lnSpc>
              <a:spcBef>
                <a:spcPts val="1000"/>
              </a:spcBef>
              <a:buFont typeface="Wingdings 2" panose="05020102010507070707" pitchFamily="18" charset="2"/>
              <a:buNone/>
            </a:pPr>
            <a:r>
              <a:rPr lang="en-US" dirty="0"/>
              <a:t>Intro text</a:t>
            </a:r>
            <a:endParaRPr lang="en-GB" dirty="0"/>
          </a:p>
        </p:txBody>
      </p:sp>
      <p:sp>
        <p:nvSpPr>
          <p:cNvPr id="14" name="Slide Number Placeholder 5">
            <a:extLst>
              <a:ext uri="{FF2B5EF4-FFF2-40B4-BE49-F238E27FC236}">
                <a16:creationId xmlns:a16="http://schemas.microsoft.com/office/drawing/2014/main" id="{65D0E4C5-7D36-45F4-B3E1-95B4112FD1C6}"/>
              </a:ext>
            </a:extLst>
          </p:cNvPr>
          <p:cNvSpPr txBox="1">
            <a:spLocks/>
          </p:cNvSpPr>
          <p:nvPr userDrawn="1"/>
        </p:nvSpPr>
        <p:spPr>
          <a:xfrm>
            <a:off x="11387581"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spc="-23"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Tree>
    <p:extLst>
      <p:ext uri="{BB962C8B-B14F-4D97-AF65-F5344CB8AC3E}">
        <p14:creationId xmlns:p14="http://schemas.microsoft.com/office/powerpoint/2010/main" val="39049504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s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1E5ADEC-E127-419F-A280-E5C4222E2B3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
            <a:ext cx="12192000" cy="6868136"/>
          </a:xfrm>
          <a:prstGeom prst="rect">
            <a:avLst/>
          </a:prstGeom>
        </p:spPr>
      </p:pic>
      <p:sp>
        <p:nvSpPr>
          <p:cNvPr id="5" name="Slide Number Placeholder 5">
            <a:extLst>
              <a:ext uri="{FF2B5EF4-FFF2-40B4-BE49-F238E27FC236}">
                <a16:creationId xmlns:a16="http://schemas.microsoft.com/office/drawing/2014/main" id="{F58BACA4-09F8-4DB1-8B64-D9DBE49FAD79}"/>
              </a:ext>
            </a:extLst>
          </p:cNvPr>
          <p:cNvSpPr txBox="1">
            <a:spLocks/>
          </p:cNvSpPr>
          <p:nvPr userDrawn="1"/>
        </p:nvSpPr>
        <p:spPr>
          <a:xfrm>
            <a:off x="11387581"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spc="-23"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
        <p:nvSpPr>
          <p:cNvPr id="7" name="TextBox 6">
            <a:extLst>
              <a:ext uri="{FF2B5EF4-FFF2-40B4-BE49-F238E27FC236}">
                <a16:creationId xmlns:a16="http://schemas.microsoft.com/office/drawing/2014/main" id="{51E0042B-1C8B-4A3E-9E6E-E4C9DBB09E41}"/>
              </a:ext>
            </a:extLst>
          </p:cNvPr>
          <p:cNvSpPr txBox="1"/>
          <p:nvPr userDrawn="1"/>
        </p:nvSpPr>
        <p:spPr>
          <a:xfrm>
            <a:off x="374251" y="416759"/>
            <a:ext cx="3562351" cy="483722"/>
          </a:xfrm>
          <a:prstGeom prst="rect">
            <a:avLst/>
          </a:prstGeom>
          <a:noFill/>
        </p:spPr>
        <p:txBody>
          <a:bodyPr wrap="square" rtlCol="0">
            <a:spAutoFit/>
          </a:bodyPr>
          <a:lstStyle/>
          <a:p>
            <a:pPr algn="l" defTabSz="914377" rtl="0" eaLnBrk="1" latinLnBrk="0" hangingPunct="1">
              <a:lnSpc>
                <a:spcPct val="90000"/>
              </a:lnSpc>
              <a:spcBef>
                <a:spcPct val="0"/>
              </a:spcBef>
              <a:buNone/>
            </a:pPr>
            <a:r>
              <a:rPr lang="en-GB" sz="2800" kern="1200" dirty="0">
                <a:solidFill>
                  <a:schemeClr val="tx1"/>
                </a:solidFill>
                <a:latin typeface="Poppins SemiBold" panose="02000000000000000000" pitchFamily="2" charset="0"/>
                <a:ea typeface="+mj-ea"/>
                <a:cs typeface="Poppins SemiBold" panose="02000000000000000000" pitchFamily="2" charset="0"/>
              </a:rPr>
              <a:t>Contents</a:t>
            </a:r>
          </a:p>
        </p:txBody>
      </p:sp>
      <p:sp>
        <p:nvSpPr>
          <p:cNvPr id="10" name="Text Placeholder 9">
            <a:extLst>
              <a:ext uri="{FF2B5EF4-FFF2-40B4-BE49-F238E27FC236}">
                <a16:creationId xmlns:a16="http://schemas.microsoft.com/office/drawing/2014/main" id="{45F03983-1BAE-417E-9BA3-2B5A03F750CE}"/>
              </a:ext>
            </a:extLst>
          </p:cNvPr>
          <p:cNvSpPr>
            <a:spLocks noGrp="1"/>
          </p:cNvSpPr>
          <p:nvPr>
            <p:ph type="body" sz="quarter" idx="13" hasCustomPrompt="1"/>
          </p:nvPr>
        </p:nvSpPr>
        <p:spPr>
          <a:xfrm>
            <a:off x="466725" y="1841501"/>
            <a:ext cx="9286875" cy="4178300"/>
          </a:xfrm>
        </p:spPr>
        <p:txBody>
          <a:bodyPr/>
          <a:lstStyle>
            <a:lvl1pPr marL="266693" indent="-266693">
              <a:buFont typeface="+mj-lt"/>
              <a:buAutoNum type="arabicPeriod"/>
              <a:defRPr>
                <a:latin typeface="Poppins Light" panose="02000000000000000000" pitchFamily="2" charset="0"/>
                <a:cs typeface="Poppins Light" panose="02000000000000000000" pitchFamily="2" charset="0"/>
              </a:defRPr>
            </a:lvl1pPr>
            <a:lvl2pPr marL="703245" indent="-457189">
              <a:buFont typeface="+mj-lt"/>
              <a:buAutoNum type="arabicPeriod"/>
              <a:defRPr>
                <a:latin typeface="Poppins Light" panose="02000000000000000000" pitchFamily="2" charset="0"/>
                <a:cs typeface="Poppins Light" panose="02000000000000000000" pitchFamily="2" charset="0"/>
              </a:defRPr>
            </a:lvl2pPr>
            <a:lvl3pPr marL="974701" indent="-457189">
              <a:buFont typeface="+mj-lt"/>
              <a:buAutoNum type="arabicPeriod"/>
              <a:defRPr>
                <a:latin typeface="Poppins Light" panose="02000000000000000000" pitchFamily="2" charset="0"/>
                <a:cs typeface="Poppins Light" panose="02000000000000000000" pitchFamily="2" charset="0"/>
              </a:defRPr>
            </a:lvl3pPr>
            <a:lvl4pPr marL="1220757" indent="-457189">
              <a:buFont typeface="+mj-lt"/>
              <a:buAutoNum type="arabicPeriod"/>
              <a:defRPr>
                <a:latin typeface="Poppins Light" panose="02000000000000000000" pitchFamily="2" charset="0"/>
                <a:cs typeface="Poppins Light" panose="02000000000000000000" pitchFamily="2" charset="0"/>
              </a:defRPr>
            </a:lvl4pPr>
            <a:lvl5pPr marL="1514437" indent="-457189">
              <a:buFont typeface="+mj-lt"/>
              <a:buAutoNum type="arabicPeriod"/>
              <a:defRPr>
                <a:latin typeface="Poppins Light" panose="02000000000000000000" pitchFamily="2" charset="0"/>
                <a:cs typeface="Poppins Light" panose="02000000000000000000" pitchFamily="2" charset="0"/>
              </a:defRPr>
            </a:lvl5pPr>
          </a:lstStyle>
          <a:p>
            <a:pPr lvl="0"/>
            <a:r>
              <a:rPr lang="en-US" dirty="0"/>
              <a:t>First chapter</a:t>
            </a:r>
            <a:endParaRPr lang="en-GB" dirty="0"/>
          </a:p>
        </p:txBody>
      </p:sp>
    </p:spTree>
    <p:extLst>
      <p:ext uri="{BB962C8B-B14F-4D97-AF65-F5344CB8AC3E}">
        <p14:creationId xmlns:p14="http://schemas.microsoft.com/office/powerpoint/2010/main" val="20076411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py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BE085FCD-5D45-4D4A-A910-A60777AC0BE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750629" y="5152571"/>
            <a:ext cx="4441371" cy="1702867"/>
          </a:xfrm>
          <a:prstGeom prst="rect">
            <a:avLst/>
          </a:prstGeom>
        </p:spPr>
      </p:pic>
      <p:sp>
        <p:nvSpPr>
          <p:cNvPr id="2" name="Title 1">
            <a:extLst>
              <a:ext uri="{FF2B5EF4-FFF2-40B4-BE49-F238E27FC236}">
                <a16:creationId xmlns:a16="http://schemas.microsoft.com/office/drawing/2014/main" id="{086B2ED4-0683-4869-85D3-EDA0DE8E01EB}"/>
              </a:ext>
            </a:extLst>
          </p:cNvPr>
          <p:cNvSpPr>
            <a:spLocks noGrp="1"/>
          </p:cNvSpPr>
          <p:nvPr>
            <p:ph type="title" hasCustomPrompt="1"/>
          </p:nvPr>
        </p:nvSpPr>
        <p:spPr>
          <a:xfrm>
            <a:off x="460218" y="25401"/>
            <a:ext cx="8861583" cy="831103"/>
          </a:xfrm>
        </p:spPr>
        <p:txBody>
          <a:bodyPr/>
          <a:lstStyle>
            <a:lvl1pPr>
              <a:defRPr>
                <a:solidFill>
                  <a:schemeClr val="tx1"/>
                </a:solidFill>
              </a:defRPr>
            </a:lvl1pPr>
          </a:lstStyle>
          <a:p>
            <a:r>
              <a:rPr lang="en-US" dirty="0"/>
              <a:t>Copy slide</a:t>
            </a:r>
            <a:endParaRPr lang="en-GB" dirty="0"/>
          </a:p>
        </p:txBody>
      </p:sp>
      <p:sp>
        <p:nvSpPr>
          <p:cNvPr id="10" name="Slide Number Placeholder 5">
            <a:extLst>
              <a:ext uri="{FF2B5EF4-FFF2-40B4-BE49-F238E27FC236}">
                <a16:creationId xmlns:a16="http://schemas.microsoft.com/office/drawing/2014/main" id="{5C517DD7-9B52-4C3D-93EC-7DF500CB37F5}"/>
              </a:ext>
            </a:extLst>
          </p:cNvPr>
          <p:cNvSpPr txBox="1">
            <a:spLocks/>
          </p:cNvSpPr>
          <p:nvPr userDrawn="1"/>
        </p:nvSpPr>
        <p:spPr>
          <a:xfrm>
            <a:off x="11387581" y="6472153"/>
            <a:ext cx="341983" cy="211451"/>
          </a:xfrm>
          <a:prstGeom prst="rect">
            <a:avLst/>
          </a:prstGeom>
          <a:noFill/>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spc="-23"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
        <p:nvSpPr>
          <p:cNvPr id="15" name="Text Placeholder 9">
            <a:extLst>
              <a:ext uri="{FF2B5EF4-FFF2-40B4-BE49-F238E27FC236}">
                <a16:creationId xmlns:a16="http://schemas.microsoft.com/office/drawing/2014/main" id="{257988F4-7951-43F6-8543-39FB2E2B33D7}"/>
              </a:ext>
            </a:extLst>
          </p:cNvPr>
          <p:cNvSpPr>
            <a:spLocks noGrp="1"/>
          </p:cNvSpPr>
          <p:nvPr>
            <p:ph type="body" sz="quarter" idx="13" hasCustomPrompt="1"/>
          </p:nvPr>
        </p:nvSpPr>
        <p:spPr>
          <a:xfrm>
            <a:off x="472355" y="1804873"/>
            <a:ext cx="8870691" cy="947739"/>
          </a:xfrm>
        </p:spPr>
        <p:txBody>
          <a:bodyPr anchor="t"/>
          <a:lstStyle>
            <a:lvl1pPr marL="0" indent="0">
              <a:buNone/>
              <a:defRPr lang="en-GB" sz="2000" kern="1200" dirty="0">
                <a:solidFill>
                  <a:schemeClr val="tx1"/>
                </a:solidFill>
                <a:latin typeface="Poppins Medium" panose="02000000000000000000" pitchFamily="2" charset="0"/>
                <a:ea typeface="+mn-ea"/>
                <a:cs typeface="Poppins Medium" panose="02000000000000000000" pitchFamily="2" charset="0"/>
              </a:defRPr>
            </a:lvl1pPr>
            <a:lvl2pPr marL="246057" indent="0">
              <a:buNone/>
              <a:defRPr/>
            </a:lvl2pPr>
            <a:lvl3pPr marL="517512" indent="0">
              <a:buNone/>
              <a:defRPr/>
            </a:lvl3pPr>
            <a:lvl4pPr marL="763569" indent="0">
              <a:buNone/>
              <a:defRPr/>
            </a:lvl4pPr>
            <a:lvl5pPr marL="1057248" indent="0">
              <a:buNone/>
              <a:defRPr/>
            </a:lvl5pPr>
          </a:lstStyle>
          <a:p>
            <a:pPr lvl="0"/>
            <a:r>
              <a:rPr lang="en-US" dirty="0"/>
              <a:t>Intro paragraph over 2 lines. Lorem ipsum dolor sit </a:t>
            </a:r>
            <a:r>
              <a:rPr lang="en-US" dirty="0" err="1"/>
              <a:t>amet</a:t>
            </a:r>
            <a:r>
              <a:rPr lang="en-US" dirty="0"/>
              <a:t>, do </a:t>
            </a:r>
            <a:r>
              <a:rPr lang="en-US" dirty="0" err="1"/>
              <a:t>eiusmod</a:t>
            </a:r>
            <a:r>
              <a:rPr lang="en-US" dirty="0"/>
              <a:t> </a:t>
            </a:r>
            <a:r>
              <a:rPr lang="en-US" dirty="0" err="1"/>
              <a:t>ut</a:t>
            </a:r>
            <a:r>
              <a:rPr lang="en-US" dirty="0"/>
              <a:t> </a:t>
            </a:r>
            <a:r>
              <a:rPr lang="en-US" dirty="0" err="1"/>
              <a:t>labore</a:t>
            </a:r>
            <a:r>
              <a:rPr lang="en-US" dirty="0"/>
              <a:t> et dolore magna.</a:t>
            </a:r>
            <a:endParaRPr lang="en-GB" dirty="0"/>
          </a:p>
        </p:txBody>
      </p:sp>
      <p:sp>
        <p:nvSpPr>
          <p:cNvPr id="16" name="Text Placeholder 9">
            <a:extLst>
              <a:ext uri="{FF2B5EF4-FFF2-40B4-BE49-F238E27FC236}">
                <a16:creationId xmlns:a16="http://schemas.microsoft.com/office/drawing/2014/main" id="{2AD193AA-A4C9-47A8-ADB8-A66F57036439}"/>
              </a:ext>
            </a:extLst>
          </p:cNvPr>
          <p:cNvSpPr>
            <a:spLocks noGrp="1"/>
          </p:cNvSpPr>
          <p:nvPr>
            <p:ph type="body" sz="quarter" idx="14" hasCustomPrompt="1"/>
          </p:nvPr>
        </p:nvSpPr>
        <p:spPr>
          <a:xfrm>
            <a:off x="472355" y="2769444"/>
            <a:ext cx="8870692" cy="3185483"/>
          </a:xfrm>
        </p:spPr>
        <p:txBody>
          <a:bodyPr anchor="t"/>
          <a:lstStyle>
            <a:lvl1pPr marL="0" indent="0">
              <a:buNone/>
              <a:defRPr lang="en-GB" sz="1800" kern="1200" dirty="0">
                <a:solidFill>
                  <a:schemeClr val="tx1"/>
                </a:solidFill>
                <a:latin typeface="Poppins Light" panose="02000000000000000000" pitchFamily="2" charset="0"/>
                <a:ea typeface="+mn-ea"/>
                <a:cs typeface="Poppins Light" panose="02000000000000000000" pitchFamily="2" charset="0"/>
              </a:defRPr>
            </a:lvl1pPr>
            <a:lvl2pPr marL="246057" indent="0">
              <a:buNone/>
              <a:defRPr/>
            </a:lvl2pPr>
            <a:lvl3pPr marL="517512" indent="0">
              <a:buNone/>
              <a:defRPr/>
            </a:lvl3pPr>
            <a:lvl4pPr marL="763569" indent="0">
              <a:buNone/>
              <a:defRPr/>
            </a:lvl4pPr>
            <a:lvl5pPr marL="1057248" indent="0">
              <a:buNone/>
              <a:defRPr/>
            </a:lvl5pPr>
          </a:lstStyle>
          <a:p>
            <a:pPr lvl="0"/>
            <a:r>
              <a:rPr lang="en-US" dirty="0"/>
              <a:t>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non </a:t>
            </a:r>
            <a:r>
              <a:rPr lang="en-US" dirty="0" err="1"/>
              <a:t>proident</a:t>
            </a:r>
            <a:r>
              <a:rPr lang="en-US" dirty="0"/>
              <a:t>, sunt in culpa qui official.</a:t>
            </a:r>
            <a:endParaRPr lang="en-GB" dirty="0"/>
          </a:p>
        </p:txBody>
      </p:sp>
      <p:sp>
        <p:nvSpPr>
          <p:cNvPr id="8" name="Text Placeholder 9">
            <a:extLst>
              <a:ext uri="{FF2B5EF4-FFF2-40B4-BE49-F238E27FC236}">
                <a16:creationId xmlns:a16="http://schemas.microsoft.com/office/drawing/2014/main" id="{55D58C01-3B17-4846-BD83-EC99A27B9008}"/>
              </a:ext>
            </a:extLst>
          </p:cNvPr>
          <p:cNvSpPr>
            <a:spLocks noGrp="1"/>
          </p:cNvSpPr>
          <p:nvPr>
            <p:ph type="body" sz="quarter" idx="12" hasCustomPrompt="1"/>
          </p:nvPr>
        </p:nvSpPr>
        <p:spPr>
          <a:xfrm>
            <a:off x="463809" y="903074"/>
            <a:ext cx="8870691" cy="729175"/>
          </a:xfrm>
        </p:spPr>
        <p:txBody>
          <a:bodyPr anchor="t"/>
          <a:lstStyle>
            <a:lvl1pPr marL="0" indent="0">
              <a:lnSpc>
                <a:spcPct val="125000"/>
              </a:lnSpc>
              <a:buNone/>
              <a:defRPr lang="en-GB" sz="1900" kern="1200" dirty="0">
                <a:solidFill>
                  <a:schemeClr val="tx1"/>
                </a:solidFill>
                <a:latin typeface="Poppins Medium" panose="02000000000000000000" pitchFamily="2" charset="0"/>
                <a:ea typeface="+mn-ea"/>
                <a:cs typeface="Poppins Medium" panose="02000000000000000000" pitchFamily="2" charset="0"/>
              </a:defRPr>
            </a:lvl1pPr>
            <a:lvl2pPr marL="246057" indent="0">
              <a:buNone/>
              <a:defRPr/>
            </a:lvl2pPr>
            <a:lvl3pPr marL="517512" indent="0">
              <a:buNone/>
              <a:defRPr/>
            </a:lvl3pPr>
            <a:lvl4pPr marL="763569" indent="0">
              <a:buNone/>
              <a:defRPr/>
            </a:lvl4pPr>
            <a:lvl5pPr marL="1057248" indent="0">
              <a:buNone/>
              <a:defRPr/>
            </a:lvl5pPr>
          </a:lstStyle>
          <a:p>
            <a:pPr marL="0" lvl="0" indent="0" algn="l" defTabSz="914377" rtl="0" eaLnBrk="1" latinLnBrk="0" hangingPunct="1">
              <a:lnSpc>
                <a:spcPct val="105000"/>
              </a:lnSpc>
              <a:spcBef>
                <a:spcPts val="1000"/>
              </a:spcBef>
              <a:buFont typeface="Wingdings 2" panose="05020102010507070707" pitchFamily="18" charset="2"/>
              <a:buNone/>
            </a:pPr>
            <a:r>
              <a:rPr lang="en-US" dirty="0"/>
              <a:t>Sub-heading</a:t>
            </a:r>
            <a:endParaRPr lang="en-GB" dirty="0"/>
          </a:p>
        </p:txBody>
      </p:sp>
    </p:spTree>
    <p:extLst>
      <p:ext uri="{BB962C8B-B14F-4D97-AF65-F5344CB8AC3E}">
        <p14:creationId xmlns:p14="http://schemas.microsoft.com/office/powerpoint/2010/main" val="306936690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py Slide v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1E5ADEC-E127-419F-A280-E5C4222E2B3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
            <a:ext cx="12192000" cy="6868136"/>
          </a:xfrm>
          <a:prstGeom prst="rect">
            <a:avLst/>
          </a:prstGeom>
        </p:spPr>
      </p:pic>
      <p:sp>
        <p:nvSpPr>
          <p:cNvPr id="5" name="Slide Number Placeholder 5">
            <a:extLst>
              <a:ext uri="{FF2B5EF4-FFF2-40B4-BE49-F238E27FC236}">
                <a16:creationId xmlns:a16="http://schemas.microsoft.com/office/drawing/2014/main" id="{F58BACA4-09F8-4DB1-8B64-D9DBE49FAD79}"/>
              </a:ext>
            </a:extLst>
          </p:cNvPr>
          <p:cNvSpPr txBox="1">
            <a:spLocks/>
          </p:cNvSpPr>
          <p:nvPr userDrawn="1"/>
        </p:nvSpPr>
        <p:spPr>
          <a:xfrm>
            <a:off x="11387581"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spc="-23"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
        <p:nvSpPr>
          <p:cNvPr id="9" name="Title 1">
            <a:extLst>
              <a:ext uri="{FF2B5EF4-FFF2-40B4-BE49-F238E27FC236}">
                <a16:creationId xmlns:a16="http://schemas.microsoft.com/office/drawing/2014/main" id="{F1FCFB85-7EFE-467F-9266-FA018755DD71}"/>
              </a:ext>
            </a:extLst>
          </p:cNvPr>
          <p:cNvSpPr>
            <a:spLocks noGrp="1"/>
          </p:cNvSpPr>
          <p:nvPr>
            <p:ph type="title" hasCustomPrompt="1"/>
          </p:nvPr>
        </p:nvSpPr>
        <p:spPr>
          <a:xfrm>
            <a:off x="460218" y="25401"/>
            <a:ext cx="8861583" cy="831103"/>
          </a:xfrm>
        </p:spPr>
        <p:txBody>
          <a:bodyPr/>
          <a:lstStyle>
            <a:lvl1pPr>
              <a:defRPr>
                <a:solidFill>
                  <a:schemeClr val="tx1"/>
                </a:solidFill>
              </a:defRPr>
            </a:lvl1pPr>
          </a:lstStyle>
          <a:p>
            <a:r>
              <a:rPr lang="en-US" dirty="0"/>
              <a:t>Copy slide</a:t>
            </a:r>
            <a:endParaRPr lang="en-GB" dirty="0"/>
          </a:p>
        </p:txBody>
      </p:sp>
      <p:sp>
        <p:nvSpPr>
          <p:cNvPr id="11" name="Text Placeholder 9">
            <a:extLst>
              <a:ext uri="{FF2B5EF4-FFF2-40B4-BE49-F238E27FC236}">
                <a16:creationId xmlns:a16="http://schemas.microsoft.com/office/drawing/2014/main" id="{421D7166-FD5F-4100-9CAC-9A68D0F63270}"/>
              </a:ext>
            </a:extLst>
          </p:cNvPr>
          <p:cNvSpPr>
            <a:spLocks noGrp="1"/>
          </p:cNvSpPr>
          <p:nvPr>
            <p:ph type="body" sz="quarter" idx="12" hasCustomPrompt="1"/>
          </p:nvPr>
        </p:nvSpPr>
        <p:spPr>
          <a:xfrm>
            <a:off x="463809" y="903074"/>
            <a:ext cx="8870691" cy="729175"/>
          </a:xfrm>
        </p:spPr>
        <p:txBody>
          <a:bodyPr anchor="t"/>
          <a:lstStyle>
            <a:lvl1pPr marL="0" indent="0">
              <a:buNone/>
              <a:defRPr lang="en-GB" sz="1900" kern="1200" dirty="0">
                <a:solidFill>
                  <a:schemeClr val="tx1"/>
                </a:solidFill>
                <a:latin typeface="Poppins Medium" panose="02000000000000000000" pitchFamily="2" charset="0"/>
                <a:ea typeface="+mn-ea"/>
                <a:cs typeface="Poppins Medium" panose="02000000000000000000" pitchFamily="2" charset="0"/>
              </a:defRPr>
            </a:lvl1pPr>
            <a:lvl2pPr marL="246057" indent="0">
              <a:buNone/>
              <a:defRPr/>
            </a:lvl2pPr>
            <a:lvl3pPr marL="517512" indent="0">
              <a:buNone/>
              <a:defRPr/>
            </a:lvl3pPr>
            <a:lvl4pPr marL="763569" indent="0">
              <a:buNone/>
              <a:defRPr/>
            </a:lvl4pPr>
            <a:lvl5pPr marL="1057248" indent="0">
              <a:buNone/>
              <a:defRPr/>
            </a:lvl5pPr>
          </a:lstStyle>
          <a:p>
            <a:pPr marL="0" lvl="0" indent="0" algn="l" defTabSz="914377" rtl="0" eaLnBrk="1" latinLnBrk="0" hangingPunct="1">
              <a:lnSpc>
                <a:spcPct val="105000"/>
              </a:lnSpc>
              <a:spcBef>
                <a:spcPts val="1000"/>
              </a:spcBef>
              <a:buFont typeface="Wingdings 2" panose="05020102010507070707" pitchFamily="18" charset="2"/>
              <a:buNone/>
            </a:pPr>
            <a:r>
              <a:rPr lang="en-US" dirty="0"/>
              <a:t>Sub-heading</a:t>
            </a:r>
            <a:endParaRPr lang="en-GB" dirty="0"/>
          </a:p>
        </p:txBody>
      </p:sp>
      <p:sp>
        <p:nvSpPr>
          <p:cNvPr id="12" name="Text Placeholder 9">
            <a:extLst>
              <a:ext uri="{FF2B5EF4-FFF2-40B4-BE49-F238E27FC236}">
                <a16:creationId xmlns:a16="http://schemas.microsoft.com/office/drawing/2014/main" id="{8901880E-8A9D-4AE3-9136-1DA35B747D1C}"/>
              </a:ext>
            </a:extLst>
          </p:cNvPr>
          <p:cNvSpPr>
            <a:spLocks noGrp="1"/>
          </p:cNvSpPr>
          <p:nvPr>
            <p:ph type="body" sz="quarter" idx="13" hasCustomPrompt="1"/>
          </p:nvPr>
        </p:nvSpPr>
        <p:spPr>
          <a:xfrm>
            <a:off x="472354" y="1804873"/>
            <a:ext cx="8849447" cy="947739"/>
          </a:xfrm>
        </p:spPr>
        <p:txBody>
          <a:bodyPr anchor="t"/>
          <a:lstStyle>
            <a:lvl1pPr marL="0" indent="0">
              <a:buNone/>
              <a:defRPr lang="en-GB" sz="2000" kern="1200" dirty="0">
                <a:solidFill>
                  <a:schemeClr val="tx1"/>
                </a:solidFill>
                <a:latin typeface="Poppins Medium" panose="02000000000000000000" pitchFamily="2" charset="0"/>
                <a:ea typeface="+mn-ea"/>
                <a:cs typeface="Poppins Medium" panose="02000000000000000000" pitchFamily="2" charset="0"/>
              </a:defRPr>
            </a:lvl1pPr>
            <a:lvl2pPr marL="246057" indent="0">
              <a:buNone/>
              <a:defRPr/>
            </a:lvl2pPr>
            <a:lvl3pPr marL="517512" indent="0">
              <a:buNone/>
              <a:defRPr/>
            </a:lvl3pPr>
            <a:lvl4pPr marL="763569" indent="0">
              <a:buNone/>
              <a:defRPr/>
            </a:lvl4pPr>
            <a:lvl5pPr marL="1057248" indent="0">
              <a:buNone/>
              <a:defRPr/>
            </a:lvl5pPr>
          </a:lstStyle>
          <a:p>
            <a:pPr lvl="0"/>
            <a:r>
              <a:rPr lang="en-US" dirty="0"/>
              <a:t>Intro paragraph over 2 lines. Lorem ipsum dolor sit </a:t>
            </a:r>
            <a:r>
              <a:rPr lang="en-US" dirty="0" err="1"/>
              <a:t>amet</a:t>
            </a:r>
            <a:r>
              <a:rPr lang="en-US" dirty="0"/>
              <a:t>, do </a:t>
            </a:r>
            <a:r>
              <a:rPr lang="en-US" dirty="0" err="1"/>
              <a:t>eiusmod</a:t>
            </a:r>
            <a:r>
              <a:rPr lang="en-US" dirty="0"/>
              <a:t> </a:t>
            </a:r>
            <a:r>
              <a:rPr lang="en-US" dirty="0" err="1"/>
              <a:t>ut</a:t>
            </a:r>
            <a:r>
              <a:rPr lang="en-US" dirty="0"/>
              <a:t> </a:t>
            </a:r>
            <a:r>
              <a:rPr lang="en-US" dirty="0" err="1"/>
              <a:t>labore</a:t>
            </a:r>
            <a:r>
              <a:rPr lang="en-US" dirty="0"/>
              <a:t> et dolore magna.</a:t>
            </a:r>
            <a:endParaRPr lang="en-GB" dirty="0"/>
          </a:p>
        </p:txBody>
      </p:sp>
      <p:sp>
        <p:nvSpPr>
          <p:cNvPr id="13" name="Text Placeholder 9">
            <a:extLst>
              <a:ext uri="{FF2B5EF4-FFF2-40B4-BE49-F238E27FC236}">
                <a16:creationId xmlns:a16="http://schemas.microsoft.com/office/drawing/2014/main" id="{C29C0D83-8C58-4C5C-A6A6-8C3AAD0D7F1C}"/>
              </a:ext>
            </a:extLst>
          </p:cNvPr>
          <p:cNvSpPr>
            <a:spLocks noGrp="1"/>
          </p:cNvSpPr>
          <p:nvPr>
            <p:ph type="body" sz="quarter" idx="14" hasCustomPrompt="1"/>
          </p:nvPr>
        </p:nvSpPr>
        <p:spPr>
          <a:xfrm>
            <a:off x="472354" y="2752612"/>
            <a:ext cx="8849447" cy="2792783"/>
          </a:xfrm>
        </p:spPr>
        <p:txBody>
          <a:bodyPr anchor="t"/>
          <a:lstStyle>
            <a:lvl1pPr marL="0" indent="0">
              <a:buNone/>
              <a:defRPr lang="en-GB" sz="1800" kern="1200" dirty="0">
                <a:solidFill>
                  <a:schemeClr val="tx1"/>
                </a:solidFill>
                <a:latin typeface="Poppins Light" panose="02000000000000000000" pitchFamily="2" charset="0"/>
                <a:ea typeface="+mn-ea"/>
                <a:cs typeface="Poppins Light" panose="02000000000000000000" pitchFamily="2" charset="0"/>
              </a:defRPr>
            </a:lvl1pPr>
            <a:lvl2pPr marL="246057" indent="0">
              <a:buNone/>
              <a:defRPr/>
            </a:lvl2pPr>
            <a:lvl3pPr marL="517512" indent="0">
              <a:buNone/>
              <a:defRPr/>
            </a:lvl3pPr>
            <a:lvl4pPr marL="763569" indent="0">
              <a:buNone/>
              <a:defRPr/>
            </a:lvl4pPr>
            <a:lvl5pPr marL="1057248" indent="0">
              <a:buNone/>
              <a:defRPr/>
            </a:lvl5pPr>
          </a:lstStyle>
          <a:p>
            <a:pPr lvl="0"/>
            <a:r>
              <a:rPr lang="en-US" dirty="0"/>
              <a:t>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non </a:t>
            </a:r>
            <a:r>
              <a:rPr lang="en-US" dirty="0" err="1"/>
              <a:t>proident</a:t>
            </a:r>
            <a:r>
              <a:rPr lang="en-US" dirty="0"/>
              <a:t>, sunt in culpa qui official.</a:t>
            </a:r>
            <a:endParaRPr lang="en-GB" dirty="0"/>
          </a:p>
        </p:txBody>
      </p:sp>
    </p:spTree>
    <p:extLst>
      <p:ext uri="{BB962C8B-B14F-4D97-AF65-F5344CB8AC3E}">
        <p14:creationId xmlns:p14="http://schemas.microsoft.com/office/powerpoint/2010/main" val="165088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ullets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6B2ED4-0683-4869-85D3-EDA0DE8E01EB}"/>
              </a:ext>
            </a:extLst>
          </p:cNvPr>
          <p:cNvSpPr>
            <a:spLocks noGrp="1"/>
          </p:cNvSpPr>
          <p:nvPr>
            <p:ph type="title" hasCustomPrompt="1"/>
          </p:nvPr>
        </p:nvSpPr>
        <p:spPr>
          <a:xfrm>
            <a:off x="472918" y="-10614"/>
            <a:ext cx="8861583" cy="852603"/>
          </a:xfrm>
        </p:spPr>
        <p:txBody>
          <a:bodyPr/>
          <a:lstStyle>
            <a:lvl1pPr>
              <a:defRPr>
                <a:solidFill>
                  <a:schemeClr val="tx1"/>
                </a:solidFill>
              </a:defRPr>
            </a:lvl1pPr>
          </a:lstStyle>
          <a:p>
            <a:r>
              <a:rPr lang="en-US" dirty="0"/>
              <a:t>Bullets slide</a:t>
            </a:r>
            <a:endParaRPr lang="en-GB" dirty="0"/>
          </a:p>
        </p:txBody>
      </p:sp>
      <p:sp>
        <p:nvSpPr>
          <p:cNvPr id="3" name="Content Placeholder 2">
            <a:extLst>
              <a:ext uri="{FF2B5EF4-FFF2-40B4-BE49-F238E27FC236}">
                <a16:creationId xmlns:a16="http://schemas.microsoft.com/office/drawing/2014/main" id="{554F0A75-3481-44BF-B53C-CF96990D8914}"/>
              </a:ext>
            </a:extLst>
          </p:cNvPr>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Slide Number Placeholder 5">
            <a:extLst>
              <a:ext uri="{FF2B5EF4-FFF2-40B4-BE49-F238E27FC236}">
                <a16:creationId xmlns:a16="http://schemas.microsoft.com/office/drawing/2014/main" id="{F58BACA4-09F8-4DB1-8B64-D9DBE49FAD79}"/>
              </a:ext>
            </a:extLst>
          </p:cNvPr>
          <p:cNvSpPr txBox="1">
            <a:spLocks/>
          </p:cNvSpPr>
          <p:nvPr userDrawn="1"/>
        </p:nvSpPr>
        <p:spPr>
          <a:xfrm>
            <a:off x="11387581"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spc="-23" dirty="0">
                <a:solidFill>
                  <a:schemeClr val="tx1"/>
                </a:solidFill>
                <a:sym typeface="Symbol" panose="05050102010706020507" pitchFamily="18" charset="2"/>
              </a:rPr>
              <a:t> </a:t>
            </a:r>
            <a:fld id="{985D5D71-2132-4A0D-A457-AC01235D778F}" type="slidenum">
              <a:rPr lang="en-GB" sz="800" kern="1200" smtClean="0">
                <a:solidFill>
                  <a:schemeClr val="tx1"/>
                </a:solidFill>
                <a:latin typeface="Poppins Medium" panose="02000000000000000000" pitchFamily="2" charset="0"/>
                <a:ea typeface="+mn-ea"/>
                <a:cs typeface="Poppins Medium" panose="02000000000000000000" pitchFamily="2" charset="0"/>
              </a:rPr>
              <a:pPr/>
              <a:t>‹#›</a:t>
            </a:fld>
            <a:endParaRPr lang="en-GB" sz="800" kern="1200" dirty="0">
              <a:solidFill>
                <a:schemeClr val="tx1"/>
              </a:solidFill>
              <a:latin typeface="Poppins Medium" panose="02000000000000000000" pitchFamily="2" charset="0"/>
              <a:ea typeface="+mn-ea"/>
              <a:cs typeface="Poppins Medium" panose="02000000000000000000" pitchFamily="2" charset="0"/>
            </a:endParaRPr>
          </a:p>
        </p:txBody>
      </p:sp>
      <p:sp>
        <p:nvSpPr>
          <p:cNvPr id="6" name="Text Placeholder 9">
            <a:extLst>
              <a:ext uri="{FF2B5EF4-FFF2-40B4-BE49-F238E27FC236}">
                <a16:creationId xmlns:a16="http://schemas.microsoft.com/office/drawing/2014/main" id="{88F907B6-2DC0-45A8-9E87-3681881B74CC}"/>
              </a:ext>
            </a:extLst>
          </p:cNvPr>
          <p:cNvSpPr>
            <a:spLocks noGrp="1"/>
          </p:cNvSpPr>
          <p:nvPr>
            <p:ph type="body" sz="quarter" idx="12" hasCustomPrompt="1"/>
          </p:nvPr>
        </p:nvSpPr>
        <p:spPr>
          <a:xfrm>
            <a:off x="463809" y="903074"/>
            <a:ext cx="8870691" cy="729175"/>
          </a:xfrm>
        </p:spPr>
        <p:txBody>
          <a:bodyPr anchor="t"/>
          <a:lstStyle>
            <a:lvl1pPr marL="0" indent="0">
              <a:buNone/>
              <a:defRPr lang="en-GB" sz="1900" kern="1200" dirty="0">
                <a:solidFill>
                  <a:schemeClr val="tx1"/>
                </a:solidFill>
                <a:latin typeface="Poppins Medium" panose="02000000000000000000" pitchFamily="2" charset="0"/>
                <a:ea typeface="+mn-ea"/>
                <a:cs typeface="Poppins Medium" panose="02000000000000000000" pitchFamily="2" charset="0"/>
              </a:defRPr>
            </a:lvl1pPr>
            <a:lvl2pPr marL="246057" indent="0">
              <a:buNone/>
              <a:defRPr/>
            </a:lvl2pPr>
            <a:lvl3pPr marL="517512" indent="0">
              <a:buNone/>
              <a:defRPr/>
            </a:lvl3pPr>
            <a:lvl4pPr marL="763569" indent="0">
              <a:buNone/>
              <a:defRPr/>
            </a:lvl4pPr>
            <a:lvl5pPr marL="1057248" indent="0">
              <a:buNone/>
              <a:defRPr/>
            </a:lvl5pPr>
          </a:lstStyle>
          <a:p>
            <a:pPr marL="0" lvl="0" indent="0" algn="l" defTabSz="914377" rtl="0" eaLnBrk="1" latinLnBrk="0" hangingPunct="1">
              <a:lnSpc>
                <a:spcPct val="105000"/>
              </a:lnSpc>
              <a:spcBef>
                <a:spcPts val="1000"/>
              </a:spcBef>
              <a:buFont typeface="Wingdings 2" panose="05020102010507070707" pitchFamily="18" charset="2"/>
              <a:buNone/>
            </a:pPr>
            <a:r>
              <a:rPr lang="en-US" dirty="0"/>
              <a:t>Sub-heading</a:t>
            </a:r>
            <a:endParaRPr lang="en-GB" dirty="0"/>
          </a:p>
        </p:txBody>
      </p:sp>
    </p:spTree>
    <p:extLst>
      <p:ext uri="{BB962C8B-B14F-4D97-AF65-F5344CB8AC3E}">
        <p14:creationId xmlns:p14="http://schemas.microsoft.com/office/powerpoint/2010/main" val="39389590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or diagram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6B2ED4-0683-4869-85D3-EDA0DE8E01EB}"/>
              </a:ext>
            </a:extLst>
          </p:cNvPr>
          <p:cNvSpPr>
            <a:spLocks noGrp="1"/>
          </p:cNvSpPr>
          <p:nvPr>
            <p:ph type="title" hasCustomPrompt="1"/>
          </p:nvPr>
        </p:nvSpPr>
        <p:spPr>
          <a:xfrm>
            <a:off x="472918" y="-10614"/>
            <a:ext cx="8861583" cy="852603"/>
          </a:xfrm>
        </p:spPr>
        <p:txBody>
          <a:bodyPr/>
          <a:lstStyle>
            <a:lvl1pPr>
              <a:defRPr>
                <a:solidFill>
                  <a:schemeClr val="tx1"/>
                </a:solidFill>
              </a:defRPr>
            </a:lvl1pPr>
          </a:lstStyle>
          <a:p>
            <a:r>
              <a:rPr lang="en-GB" dirty="0"/>
              <a:t>Image or diagram slide</a:t>
            </a:r>
          </a:p>
        </p:txBody>
      </p:sp>
      <p:sp>
        <p:nvSpPr>
          <p:cNvPr id="5" name="Slide Number Placeholder 5">
            <a:extLst>
              <a:ext uri="{FF2B5EF4-FFF2-40B4-BE49-F238E27FC236}">
                <a16:creationId xmlns:a16="http://schemas.microsoft.com/office/drawing/2014/main" id="{3EE08843-0DDD-4D7C-9AA4-5F3B9B2EC431}"/>
              </a:ext>
            </a:extLst>
          </p:cNvPr>
          <p:cNvSpPr txBox="1">
            <a:spLocks/>
          </p:cNvSpPr>
          <p:nvPr userDrawn="1"/>
        </p:nvSpPr>
        <p:spPr>
          <a:xfrm>
            <a:off x="11387581"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spc="-23" dirty="0">
                <a:sym typeface="Symbol" panose="05050102010706020507" pitchFamily="18" charset="2"/>
              </a:rPr>
              <a:t> </a:t>
            </a:r>
            <a:fld id="{985D5D71-2132-4A0D-A457-AC01235D778F}" type="slidenum">
              <a:rPr lang="en-GB" sz="800" kern="1200" smtClean="0">
                <a:solidFill>
                  <a:schemeClr val="accent5"/>
                </a:solidFill>
                <a:latin typeface="Poppins Medium" panose="02000000000000000000" pitchFamily="2" charset="0"/>
                <a:ea typeface="+mn-ea"/>
                <a:cs typeface="Poppins Medium" panose="02000000000000000000" pitchFamily="2" charset="0"/>
              </a:rPr>
              <a:pPr/>
              <a:t>‹#›</a:t>
            </a:fld>
            <a:endParaRPr lang="en-GB" sz="800" kern="1200" dirty="0">
              <a:solidFill>
                <a:schemeClr val="accent5"/>
              </a:solidFill>
              <a:latin typeface="Poppins Medium" panose="02000000000000000000" pitchFamily="2" charset="0"/>
              <a:ea typeface="+mn-ea"/>
              <a:cs typeface="Poppins Medium" panose="02000000000000000000" pitchFamily="2" charset="0"/>
            </a:endParaRPr>
          </a:p>
        </p:txBody>
      </p:sp>
      <p:sp>
        <p:nvSpPr>
          <p:cNvPr id="7" name="Text Placeholder 9">
            <a:extLst>
              <a:ext uri="{FF2B5EF4-FFF2-40B4-BE49-F238E27FC236}">
                <a16:creationId xmlns:a16="http://schemas.microsoft.com/office/drawing/2014/main" id="{E8233D60-2A02-47E4-8EEA-09C359F461A5}"/>
              </a:ext>
            </a:extLst>
          </p:cNvPr>
          <p:cNvSpPr>
            <a:spLocks noGrp="1"/>
          </p:cNvSpPr>
          <p:nvPr>
            <p:ph type="body" sz="quarter" idx="12" hasCustomPrompt="1"/>
          </p:nvPr>
        </p:nvSpPr>
        <p:spPr>
          <a:xfrm>
            <a:off x="472355" y="1146571"/>
            <a:ext cx="6814271" cy="831103"/>
          </a:xfrm>
        </p:spPr>
        <p:txBody>
          <a:bodyPr anchor="t"/>
          <a:lstStyle>
            <a:lvl1pPr marL="0" indent="0">
              <a:buNone/>
              <a:defRPr lang="en-GB" sz="2000" kern="1200" dirty="0">
                <a:solidFill>
                  <a:schemeClr val="tx1"/>
                </a:solidFill>
                <a:latin typeface="Poppins Medium" panose="02000000000000000000" pitchFamily="2" charset="0"/>
                <a:ea typeface="+mn-ea"/>
                <a:cs typeface="Poppins Medium" panose="02000000000000000000" pitchFamily="2" charset="0"/>
              </a:defRPr>
            </a:lvl1pPr>
            <a:lvl2pPr marL="246057" indent="0">
              <a:buNone/>
              <a:defRPr/>
            </a:lvl2pPr>
            <a:lvl3pPr marL="517512" indent="0">
              <a:buNone/>
              <a:defRPr/>
            </a:lvl3pPr>
            <a:lvl4pPr marL="763569" indent="0">
              <a:buNone/>
              <a:defRPr/>
            </a:lvl4pPr>
            <a:lvl5pPr marL="1057248" indent="0">
              <a:buNone/>
              <a:defRPr/>
            </a:lvl5pPr>
          </a:lstStyle>
          <a:p>
            <a:pPr lvl="0"/>
            <a:r>
              <a:rPr lang="en-US" dirty="0"/>
              <a:t>Intro paragraph over 2 lines.</a:t>
            </a:r>
            <a:endParaRPr lang="en-GB" dirty="0"/>
          </a:p>
        </p:txBody>
      </p:sp>
    </p:spTree>
    <p:extLst>
      <p:ext uri="{BB962C8B-B14F-4D97-AF65-F5344CB8AC3E}">
        <p14:creationId xmlns:p14="http://schemas.microsoft.com/office/powerpoint/2010/main" val="12858432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ullets and imag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6B2ED4-0683-4869-85D3-EDA0DE8E01EB}"/>
              </a:ext>
            </a:extLst>
          </p:cNvPr>
          <p:cNvSpPr>
            <a:spLocks noGrp="1"/>
          </p:cNvSpPr>
          <p:nvPr>
            <p:ph type="title" hasCustomPrompt="1"/>
          </p:nvPr>
        </p:nvSpPr>
        <p:spPr>
          <a:xfrm>
            <a:off x="472918" y="1"/>
            <a:ext cx="8149975" cy="831103"/>
          </a:xfrm>
        </p:spPr>
        <p:txBody>
          <a:bodyPr/>
          <a:lstStyle>
            <a:lvl1pPr>
              <a:defRPr>
                <a:solidFill>
                  <a:schemeClr val="tx1"/>
                </a:solidFill>
              </a:defRPr>
            </a:lvl1pPr>
          </a:lstStyle>
          <a:p>
            <a:r>
              <a:rPr lang="en-US" dirty="0"/>
              <a:t>Slide title</a:t>
            </a:r>
            <a:endParaRPr lang="en-GB" dirty="0"/>
          </a:p>
        </p:txBody>
      </p:sp>
      <p:sp>
        <p:nvSpPr>
          <p:cNvPr id="12" name="Picture Placeholder 11">
            <a:extLst>
              <a:ext uri="{FF2B5EF4-FFF2-40B4-BE49-F238E27FC236}">
                <a16:creationId xmlns:a16="http://schemas.microsoft.com/office/drawing/2014/main" id="{297C47CA-0BAF-4D64-A172-0508D960F002}"/>
              </a:ext>
            </a:extLst>
          </p:cNvPr>
          <p:cNvSpPr>
            <a:spLocks noGrp="1"/>
          </p:cNvSpPr>
          <p:nvPr>
            <p:ph type="pic" sz="quarter" idx="13" hasCustomPrompt="1"/>
          </p:nvPr>
        </p:nvSpPr>
        <p:spPr>
          <a:xfrm>
            <a:off x="6284685" y="1168545"/>
            <a:ext cx="5907315" cy="5133591"/>
          </a:xfrm>
          <a:solidFill>
            <a:schemeClr val="bg1">
              <a:lumMod val="95000"/>
            </a:schemeClr>
          </a:solidFill>
        </p:spPr>
        <p:txBody>
          <a:bodyPr anchor="ctr"/>
          <a:lstStyle>
            <a:lvl1pPr algn="ctr">
              <a:defRPr>
                <a:solidFill>
                  <a:schemeClr val="bg1">
                    <a:lumMod val="65000"/>
                  </a:schemeClr>
                </a:solidFill>
              </a:defRPr>
            </a:lvl1pPr>
            <a:lvl7pPr>
              <a:defRPr lang="en-GB" sz="1500" kern="1200" dirty="0">
                <a:solidFill>
                  <a:schemeClr val="tx1"/>
                </a:solidFill>
                <a:latin typeface="Poppins Light" panose="02000000000000000000" pitchFamily="2" charset="0"/>
                <a:ea typeface="+mn-ea"/>
                <a:cs typeface="Poppins Light" panose="02000000000000000000" pitchFamily="2" charset="0"/>
              </a:defRPr>
            </a:lvl7pPr>
            <a:lvl9pPr marL="3657509" indent="0">
              <a:buNone/>
              <a:defRPr>
                <a:solidFill>
                  <a:schemeClr val="bg1">
                    <a:lumMod val="65000"/>
                  </a:schemeClr>
                </a:solidFill>
              </a:defRPr>
            </a:lvl9pPr>
          </a:lstStyle>
          <a:p>
            <a:pPr marL="87311" lvl="6" indent="0" algn="ctr" defTabSz="914377" rtl="0" eaLnBrk="1" latinLnBrk="0" hangingPunct="1">
              <a:lnSpc>
                <a:spcPct val="90000"/>
              </a:lnSpc>
              <a:spcBef>
                <a:spcPts val="500"/>
              </a:spcBef>
              <a:buFont typeface="Arial" panose="020B0604020202020204" pitchFamily="34" charset="0"/>
              <a:buNone/>
            </a:pPr>
            <a:r>
              <a:rPr lang="en-GB" dirty="0"/>
              <a:t>Image – place graphic element on top in normal view</a:t>
            </a:r>
          </a:p>
        </p:txBody>
      </p:sp>
      <p:sp>
        <p:nvSpPr>
          <p:cNvPr id="19" name="Picture Placeholder 15">
            <a:extLst>
              <a:ext uri="{FF2B5EF4-FFF2-40B4-BE49-F238E27FC236}">
                <a16:creationId xmlns:a16="http://schemas.microsoft.com/office/drawing/2014/main" id="{D589E8C2-4ED9-4606-9911-36961729BACC}"/>
              </a:ext>
            </a:extLst>
          </p:cNvPr>
          <p:cNvSpPr>
            <a:spLocks noGrp="1"/>
          </p:cNvSpPr>
          <p:nvPr>
            <p:ph type="pic" sz="quarter" idx="14" hasCustomPrompt="1"/>
          </p:nvPr>
        </p:nvSpPr>
        <p:spPr>
          <a:xfrm>
            <a:off x="8483600" y="2755900"/>
            <a:ext cx="3708400" cy="4097723"/>
          </a:xfrm>
          <a:blipFill>
            <a:blip r:embed="rId2" cstate="print">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a:lvl1pPr>
          </a:lstStyle>
          <a:p>
            <a:r>
              <a:rPr lang="en-GB" dirty="0"/>
              <a:t>       </a:t>
            </a:r>
          </a:p>
        </p:txBody>
      </p:sp>
      <p:sp>
        <p:nvSpPr>
          <p:cNvPr id="4" name="Text Placeholder 3">
            <a:extLst>
              <a:ext uri="{FF2B5EF4-FFF2-40B4-BE49-F238E27FC236}">
                <a16:creationId xmlns:a16="http://schemas.microsoft.com/office/drawing/2014/main" id="{1B21CECE-A706-4B99-9E3A-DF8A4EE51B77}"/>
              </a:ext>
            </a:extLst>
          </p:cNvPr>
          <p:cNvSpPr>
            <a:spLocks noGrp="1"/>
          </p:cNvSpPr>
          <p:nvPr>
            <p:ph type="body" sz="quarter" idx="19"/>
          </p:nvPr>
        </p:nvSpPr>
        <p:spPr>
          <a:xfrm>
            <a:off x="472356" y="1841501"/>
            <a:ext cx="5001345" cy="1520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3">
            <a:extLst>
              <a:ext uri="{FF2B5EF4-FFF2-40B4-BE49-F238E27FC236}">
                <a16:creationId xmlns:a16="http://schemas.microsoft.com/office/drawing/2014/main" id="{4E52991B-1129-4F2C-9F91-7FD501ABC57B}"/>
              </a:ext>
            </a:extLst>
          </p:cNvPr>
          <p:cNvSpPr>
            <a:spLocks noGrp="1"/>
          </p:cNvSpPr>
          <p:nvPr>
            <p:ph type="body" sz="quarter" idx="20"/>
          </p:nvPr>
        </p:nvSpPr>
        <p:spPr>
          <a:xfrm>
            <a:off x="472356" y="3362326"/>
            <a:ext cx="5001345" cy="1520825"/>
          </a:xfrm>
        </p:spPr>
        <p:txBody>
          <a:bodyPr/>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3">
            <a:extLst>
              <a:ext uri="{FF2B5EF4-FFF2-40B4-BE49-F238E27FC236}">
                <a16:creationId xmlns:a16="http://schemas.microsoft.com/office/drawing/2014/main" id="{A24B931C-587D-4925-8929-7C063609966C}"/>
              </a:ext>
            </a:extLst>
          </p:cNvPr>
          <p:cNvSpPr>
            <a:spLocks noGrp="1"/>
          </p:cNvSpPr>
          <p:nvPr>
            <p:ph type="body" sz="quarter" idx="21"/>
          </p:nvPr>
        </p:nvSpPr>
        <p:spPr>
          <a:xfrm>
            <a:off x="472356" y="4883152"/>
            <a:ext cx="5001345" cy="1520825"/>
          </a:xfrm>
        </p:spPr>
        <p:txBody>
          <a:bodyPr/>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9">
            <a:extLst>
              <a:ext uri="{FF2B5EF4-FFF2-40B4-BE49-F238E27FC236}">
                <a16:creationId xmlns:a16="http://schemas.microsoft.com/office/drawing/2014/main" id="{BB9F8E68-1381-4B6A-A33D-6E9B3770C6CC}"/>
              </a:ext>
            </a:extLst>
          </p:cNvPr>
          <p:cNvSpPr>
            <a:spLocks noGrp="1"/>
          </p:cNvSpPr>
          <p:nvPr>
            <p:ph type="body" sz="quarter" idx="12" hasCustomPrompt="1"/>
          </p:nvPr>
        </p:nvSpPr>
        <p:spPr>
          <a:xfrm>
            <a:off x="463809" y="903074"/>
            <a:ext cx="8159083" cy="729175"/>
          </a:xfrm>
        </p:spPr>
        <p:txBody>
          <a:bodyPr anchor="t"/>
          <a:lstStyle>
            <a:lvl1pPr marL="0" indent="0">
              <a:buNone/>
              <a:defRPr lang="en-GB" sz="2000" kern="1200" dirty="0">
                <a:solidFill>
                  <a:schemeClr val="tx1"/>
                </a:solidFill>
                <a:latin typeface="Poppins Medium" panose="02000000000000000000" pitchFamily="2" charset="0"/>
                <a:ea typeface="+mn-ea"/>
                <a:cs typeface="Poppins Medium" panose="02000000000000000000" pitchFamily="2" charset="0"/>
              </a:defRPr>
            </a:lvl1pPr>
            <a:lvl2pPr marL="246057" indent="0">
              <a:buNone/>
              <a:defRPr/>
            </a:lvl2pPr>
            <a:lvl3pPr marL="517512" indent="0">
              <a:buNone/>
              <a:defRPr/>
            </a:lvl3pPr>
            <a:lvl4pPr marL="763569" indent="0">
              <a:buNone/>
              <a:defRPr/>
            </a:lvl4pPr>
            <a:lvl5pPr marL="1057248" indent="0">
              <a:buNone/>
              <a:defRPr/>
            </a:lvl5pPr>
          </a:lstStyle>
          <a:p>
            <a:pPr marL="0" lvl="0" indent="0" algn="l" defTabSz="914377" rtl="0" eaLnBrk="1" latinLnBrk="0" hangingPunct="1">
              <a:lnSpc>
                <a:spcPct val="105000"/>
              </a:lnSpc>
              <a:spcBef>
                <a:spcPts val="1000"/>
              </a:spcBef>
              <a:buFont typeface="Wingdings 2" panose="05020102010507070707" pitchFamily="18" charset="2"/>
              <a:buNone/>
            </a:pPr>
            <a:r>
              <a:rPr lang="en-US" dirty="0"/>
              <a:t>Sub-heading</a:t>
            </a:r>
            <a:endParaRPr lang="en-GB" dirty="0"/>
          </a:p>
        </p:txBody>
      </p:sp>
      <p:sp>
        <p:nvSpPr>
          <p:cNvPr id="11" name="Slide Number Placeholder 5">
            <a:extLst>
              <a:ext uri="{FF2B5EF4-FFF2-40B4-BE49-F238E27FC236}">
                <a16:creationId xmlns:a16="http://schemas.microsoft.com/office/drawing/2014/main" id="{E556B91F-7450-4889-B565-59EBECF47209}"/>
              </a:ext>
            </a:extLst>
          </p:cNvPr>
          <p:cNvSpPr txBox="1">
            <a:spLocks/>
          </p:cNvSpPr>
          <p:nvPr userDrawn="1"/>
        </p:nvSpPr>
        <p:spPr>
          <a:xfrm>
            <a:off x="11387581"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spc="-23" dirty="0">
                <a:sym typeface="Symbol" panose="05050102010706020507" pitchFamily="18" charset="2"/>
              </a:rPr>
              <a:t> </a:t>
            </a:r>
            <a:fld id="{985D5D71-2132-4A0D-A457-AC01235D778F}" type="slidenum">
              <a:rPr lang="en-GB" sz="800" kern="1200" smtClean="0">
                <a:solidFill>
                  <a:schemeClr val="accent5"/>
                </a:solidFill>
                <a:latin typeface="Poppins Medium" panose="02000000000000000000" pitchFamily="2" charset="0"/>
                <a:ea typeface="+mn-ea"/>
                <a:cs typeface="Poppins Medium" panose="02000000000000000000" pitchFamily="2" charset="0"/>
              </a:rPr>
              <a:pPr/>
              <a:t>‹#›</a:t>
            </a:fld>
            <a:endParaRPr lang="en-GB" sz="800" kern="1200" dirty="0">
              <a:solidFill>
                <a:schemeClr val="accent5"/>
              </a:solidFill>
              <a:latin typeface="Poppins Medium" panose="02000000000000000000" pitchFamily="2" charset="0"/>
              <a:ea typeface="+mn-ea"/>
              <a:cs typeface="Poppins Medium" panose="02000000000000000000" pitchFamily="2" charset="0"/>
            </a:endParaRPr>
          </a:p>
        </p:txBody>
      </p:sp>
    </p:spTree>
    <p:extLst>
      <p:ext uri="{BB962C8B-B14F-4D97-AF65-F5344CB8AC3E}">
        <p14:creationId xmlns:p14="http://schemas.microsoft.com/office/powerpoint/2010/main" val="41664707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py and image slid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40A0CD3-A136-4797-8325-FC673F62A206}"/>
              </a:ext>
            </a:extLst>
          </p:cNvPr>
          <p:cNvSpPr>
            <a:spLocks noGrp="1"/>
          </p:cNvSpPr>
          <p:nvPr>
            <p:ph type="pic" sz="quarter" idx="14" hasCustomPrompt="1"/>
          </p:nvPr>
        </p:nvSpPr>
        <p:spPr>
          <a:xfrm>
            <a:off x="9030824" y="207772"/>
            <a:ext cx="2876400" cy="1033200"/>
          </a:xfrm>
          <a:blipFill>
            <a:blip r:embed="rId2" cstate="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GB" dirty="0"/>
              <a:t> </a:t>
            </a:r>
          </a:p>
        </p:txBody>
      </p:sp>
      <p:sp>
        <p:nvSpPr>
          <p:cNvPr id="2" name="Title 1">
            <a:extLst>
              <a:ext uri="{FF2B5EF4-FFF2-40B4-BE49-F238E27FC236}">
                <a16:creationId xmlns:a16="http://schemas.microsoft.com/office/drawing/2014/main" id="{086B2ED4-0683-4869-85D3-EDA0DE8E01EB}"/>
              </a:ext>
            </a:extLst>
          </p:cNvPr>
          <p:cNvSpPr>
            <a:spLocks noGrp="1"/>
          </p:cNvSpPr>
          <p:nvPr>
            <p:ph type="title" hasCustomPrompt="1"/>
          </p:nvPr>
        </p:nvSpPr>
        <p:spPr>
          <a:xfrm>
            <a:off x="472918" y="7258"/>
            <a:ext cx="8133281" cy="831103"/>
          </a:xfrm>
        </p:spPr>
        <p:txBody>
          <a:bodyPr/>
          <a:lstStyle>
            <a:lvl1pPr>
              <a:defRPr>
                <a:solidFill>
                  <a:schemeClr val="tx1"/>
                </a:solidFill>
              </a:defRPr>
            </a:lvl1pPr>
          </a:lstStyle>
          <a:p>
            <a:r>
              <a:rPr lang="en-US" dirty="0"/>
              <a:t>Copy and image slide</a:t>
            </a:r>
            <a:endParaRPr lang="en-GB" dirty="0"/>
          </a:p>
        </p:txBody>
      </p:sp>
      <p:sp>
        <p:nvSpPr>
          <p:cNvPr id="8" name="Slide Number Placeholder 5">
            <a:extLst>
              <a:ext uri="{FF2B5EF4-FFF2-40B4-BE49-F238E27FC236}">
                <a16:creationId xmlns:a16="http://schemas.microsoft.com/office/drawing/2014/main" id="{4AD3DA69-35E8-4C04-B899-38E94CAC18CF}"/>
              </a:ext>
            </a:extLst>
          </p:cNvPr>
          <p:cNvSpPr txBox="1">
            <a:spLocks/>
          </p:cNvSpPr>
          <p:nvPr userDrawn="1"/>
        </p:nvSpPr>
        <p:spPr>
          <a:xfrm>
            <a:off x="11387581"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spc="-23"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
        <p:nvSpPr>
          <p:cNvPr id="6" name="Picture Placeholder 5">
            <a:extLst>
              <a:ext uri="{FF2B5EF4-FFF2-40B4-BE49-F238E27FC236}">
                <a16:creationId xmlns:a16="http://schemas.microsoft.com/office/drawing/2014/main" id="{4F66D672-AE29-4DA5-828F-732EA18A4618}"/>
              </a:ext>
            </a:extLst>
          </p:cNvPr>
          <p:cNvSpPr>
            <a:spLocks noGrp="1"/>
          </p:cNvSpPr>
          <p:nvPr>
            <p:ph type="pic" sz="quarter" idx="12" hasCustomPrompt="1"/>
          </p:nvPr>
        </p:nvSpPr>
        <p:spPr>
          <a:xfrm>
            <a:off x="5437577" y="-1074056"/>
            <a:ext cx="8133281" cy="8636000"/>
          </a:xfrm>
          <a:prstGeom prst="ellipse">
            <a:avLst/>
          </a:prstGeom>
          <a:solidFill>
            <a:schemeClr val="bg1">
              <a:lumMod val="95000"/>
            </a:schemeClr>
          </a:solidFill>
        </p:spPr>
        <p:txBody>
          <a:bodyPr tIns="1440000" anchor="t"/>
          <a:lstStyle>
            <a:lvl1pPr algn="ctr">
              <a:defRPr/>
            </a:lvl1pPr>
            <a:lvl7pPr marL="87311" indent="0" algn="ctr">
              <a:buFont typeface="Arial" panose="020B0604020202020204" pitchFamily="34" charset="0"/>
              <a:buNone/>
              <a:defRPr lang="en-GB" sz="1500" kern="1200" dirty="0">
                <a:solidFill>
                  <a:schemeClr val="tx1"/>
                </a:solidFill>
                <a:latin typeface="Poppins Light" panose="02000000000000000000" pitchFamily="2" charset="0"/>
                <a:ea typeface="+mn-ea"/>
                <a:cs typeface="Poppins Light" panose="02000000000000000000" pitchFamily="2" charset="0"/>
              </a:defRPr>
            </a:lvl7pPr>
          </a:lstStyle>
          <a:p>
            <a:pPr lvl="6"/>
            <a:r>
              <a:rPr lang="en-GB" dirty="0"/>
              <a:t>Add image by clicking the icon.</a:t>
            </a:r>
            <a:br>
              <a:rPr lang="en-GB" dirty="0"/>
            </a:br>
            <a:r>
              <a:rPr lang="en-GB" dirty="0"/>
              <a:t>Place logo on top in normal view.</a:t>
            </a:r>
          </a:p>
        </p:txBody>
      </p:sp>
      <p:sp>
        <p:nvSpPr>
          <p:cNvPr id="13" name="Text Placeholder 9">
            <a:extLst>
              <a:ext uri="{FF2B5EF4-FFF2-40B4-BE49-F238E27FC236}">
                <a16:creationId xmlns:a16="http://schemas.microsoft.com/office/drawing/2014/main" id="{D2DBCABD-4EE2-4C1D-9C11-6C111D1BB3F1}"/>
              </a:ext>
            </a:extLst>
          </p:cNvPr>
          <p:cNvSpPr>
            <a:spLocks noGrp="1"/>
          </p:cNvSpPr>
          <p:nvPr>
            <p:ph type="body" sz="quarter" idx="13" hasCustomPrompt="1"/>
          </p:nvPr>
        </p:nvSpPr>
        <p:spPr>
          <a:xfrm>
            <a:off x="472355" y="1804873"/>
            <a:ext cx="4818235" cy="947739"/>
          </a:xfrm>
        </p:spPr>
        <p:txBody>
          <a:bodyPr anchor="t"/>
          <a:lstStyle>
            <a:lvl1pPr marL="0" indent="0">
              <a:buNone/>
              <a:defRPr lang="en-GB" sz="2000" kern="1200" dirty="0">
                <a:solidFill>
                  <a:schemeClr val="tx1"/>
                </a:solidFill>
                <a:latin typeface="Poppins Medium" panose="02000000000000000000" pitchFamily="2" charset="0"/>
                <a:ea typeface="+mn-ea"/>
                <a:cs typeface="Poppins Medium" panose="02000000000000000000" pitchFamily="2" charset="0"/>
              </a:defRPr>
            </a:lvl1pPr>
            <a:lvl2pPr marL="246057" indent="0">
              <a:buNone/>
              <a:defRPr/>
            </a:lvl2pPr>
            <a:lvl3pPr marL="517512" indent="0">
              <a:buNone/>
              <a:defRPr/>
            </a:lvl3pPr>
            <a:lvl4pPr marL="763569" indent="0">
              <a:buNone/>
              <a:defRPr/>
            </a:lvl4pPr>
            <a:lvl5pPr marL="1057248" indent="0">
              <a:buNone/>
              <a:defRPr/>
            </a:lvl5pPr>
          </a:lstStyle>
          <a:p>
            <a:pPr lvl="0"/>
            <a:r>
              <a:rPr lang="en-US" dirty="0"/>
              <a:t>Intro paragraph over 2 lines. Lorem ipsum dolor sit </a:t>
            </a:r>
            <a:r>
              <a:rPr lang="en-US" dirty="0" err="1"/>
              <a:t>amet</a:t>
            </a:r>
            <a:r>
              <a:rPr lang="en-US" dirty="0"/>
              <a:t>, do </a:t>
            </a:r>
            <a:r>
              <a:rPr lang="en-US" dirty="0" err="1"/>
              <a:t>eiusmod</a:t>
            </a:r>
            <a:r>
              <a:rPr lang="en-US" dirty="0"/>
              <a:t> </a:t>
            </a:r>
            <a:r>
              <a:rPr lang="en-US" dirty="0" err="1"/>
              <a:t>ut</a:t>
            </a:r>
            <a:r>
              <a:rPr lang="en-US" dirty="0"/>
              <a:t> </a:t>
            </a:r>
            <a:r>
              <a:rPr lang="en-US" dirty="0" err="1"/>
              <a:t>labore</a:t>
            </a:r>
            <a:r>
              <a:rPr lang="en-US" dirty="0"/>
              <a:t> et dolore magna.</a:t>
            </a:r>
            <a:endParaRPr lang="en-GB" dirty="0"/>
          </a:p>
        </p:txBody>
      </p:sp>
      <p:sp>
        <p:nvSpPr>
          <p:cNvPr id="14" name="Text Placeholder 9">
            <a:extLst>
              <a:ext uri="{FF2B5EF4-FFF2-40B4-BE49-F238E27FC236}">
                <a16:creationId xmlns:a16="http://schemas.microsoft.com/office/drawing/2014/main" id="{19E3710F-7744-4776-A0C0-BEF8BACA10C4}"/>
              </a:ext>
            </a:extLst>
          </p:cNvPr>
          <p:cNvSpPr>
            <a:spLocks noGrp="1"/>
          </p:cNvSpPr>
          <p:nvPr>
            <p:ph type="body" sz="quarter" idx="16" hasCustomPrompt="1"/>
          </p:nvPr>
        </p:nvSpPr>
        <p:spPr>
          <a:xfrm>
            <a:off x="472355" y="2955131"/>
            <a:ext cx="4818235" cy="3386675"/>
          </a:xfrm>
        </p:spPr>
        <p:txBody>
          <a:bodyPr anchor="t"/>
          <a:lstStyle>
            <a:lvl1pPr marL="0" indent="0">
              <a:buNone/>
              <a:defRPr lang="en-GB" sz="1600" kern="1200" dirty="0">
                <a:solidFill>
                  <a:schemeClr val="tx1"/>
                </a:solidFill>
                <a:latin typeface="Poppins Light" panose="02000000000000000000" pitchFamily="2" charset="0"/>
                <a:ea typeface="+mn-ea"/>
                <a:cs typeface="Poppins Light" panose="02000000000000000000" pitchFamily="2" charset="0"/>
              </a:defRPr>
            </a:lvl1pPr>
            <a:lvl2pPr marL="246057" indent="0">
              <a:buNone/>
              <a:defRPr/>
            </a:lvl2pPr>
            <a:lvl3pPr marL="517512" indent="0">
              <a:buNone/>
              <a:defRPr/>
            </a:lvl3pPr>
            <a:lvl4pPr marL="763569" indent="0">
              <a:buNone/>
              <a:defRPr/>
            </a:lvl4pPr>
            <a:lvl5pPr marL="1057248" indent="0">
              <a:buNone/>
              <a:defRPr/>
            </a:lvl5pPr>
          </a:lstStyle>
          <a:p>
            <a:pPr lvl="0"/>
            <a:r>
              <a:rPr lang="en-US" dirty="0"/>
              <a:t>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non </a:t>
            </a:r>
            <a:r>
              <a:rPr lang="en-US" dirty="0" err="1"/>
              <a:t>proident</a:t>
            </a:r>
            <a:r>
              <a:rPr lang="en-US" dirty="0"/>
              <a:t>, sunt in culpa qui official.</a:t>
            </a:r>
            <a:endParaRPr lang="en-GB" dirty="0"/>
          </a:p>
        </p:txBody>
      </p:sp>
      <p:sp>
        <p:nvSpPr>
          <p:cNvPr id="11" name="Text Placeholder 9">
            <a:extLst>
              <a:ext uri="{FF2B5EF4-FFF2-40B4-BE49-F238E27FC236}">
                <a16:creationId xmlns:a16="http://schemas.microsoft.com/office/drawing/2014/main" id="{C0151E5D-868A-4510-8DF6-6FF090F0492E}"/>
              </a:ext>
            </a:extLst>
          </p:cNvPr>
          <p:cNvSpPr>
            <a:spLocks noGrp="1"/>
          </p:cNvSpPr>
          <p:nvPr>
            <p:ph type="body" sz="quarter" idx="17" hasCustomPrompt="1"/>
          </p:nvPr>
        </p:nvSpPr>
        <p:spPr>
          <a:xfrm>
            <a:off x="463809" y="903074"/>
            <a:ext cx="5330241" cy="729175"/>
          </a:xfrm>
        </p:spPr>
        <p:txBody>
          <a:bodyPr anchor="t"/>
          <a:lstStyle>
            <a:lvl1pPr marL="0" indent="0">
              <a:buNone/>
              <a:defRPr lang="en-GB" sz="2000" kern="1200" dirty="0">
                <a:solidFill>
                  <a:schemeClr val="tx1"/>
                </a:solidFill>
                <a:latin typeface="Poppins Medium" panose="02000000000000000000" pitchFamily="2" charset="0"/>
                <a:ea typeface="+mn-ea"/>
                <a:cs typeface="Poppins Medium" panose="02000000000000000000" pitchFamily="2" charset="0"/>
              </a:defRPr>
            </a:lvl1pPr>
            <a:lvl2pPr marL="246057" indent="0">
              <a:buNone/>
              <a:defRPr/>
            </a:lvl2pPr>
            <a:lvl3pPr marL="517512" indent="0">
              <a:buNone/>
              <a:defRPr/>
            </a:lvl3pPr>
            <a:lvl4pPr marL="763569" indent="0">
              <a:buNone/>
              <a:defRPr/>
            </a:lvl4pPr>
            <a:lvl5pPr marL="1057248" indent="0">
              <a:buNone/>
              <a:defRPr/>
            </a:lvl5pPr>
          </a:lstStyle>
          <a:p>
            <a:pPr marL="0" lvl="0" indent="0" algn="l" defTabSz="914377" rtl="0" eaLnBrk="1" latinLnBrk="0" hangingPunct="1">
              <a:lnSpc>
                <a:spcPct val="105000"/>
              </a:lnSpc>
              <a:spcBef>
                <a:spcPts val="1000"/>
              </a:spcBef>
              <a:buFont typeface="Wingdings 2" panose="05020102010507070707" pitchFamily="18" charset="2"/>
              <a:buNone/>
            </a:pPr>
            <a:r>
              <a:rPr lang="en-US" dirty="0"/>
              <a:t>Sub-heading</a:t>
            </a:r>
            <a:endParaRPr lang="en-GB" dirty="0"/>
          </a:p>
        </p:txBody>
      </p:sp>
    </p:spTree>
    <p:extLst>
      <p:ext uri="{BB962C8B-B14F-4D97-AF65-F5344CB8AC3E}">
        <p14:creationId xmlns:p14="http://schemas.microsoft.com/office/powerpoint/2010/main" val="32457587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py and 2 images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46686E92-E029-4CF5-B509-D090E74C9AF8}"/>
              </a:ext>
              <a:ext uri="{C183D7F6-B498-43B3-948B-1728B52AA6E4}">
                <adec:decorative xmlns:adec="http://schemas.microsoft.com/office/drawing/2017/decorative" val="1"/>
              </a:ext>
            </a:extLst>
          </p:cNvPr>
          <p:cNvSpPr>
            <a:spLocks noGrp="1"/>
          </p:cNvSpPr>
          <p:nvPr>
            <p:ph type="pic" sz="quarter" idx="12" hasCustomPrompt="1"/>
          </p:nvPr>
        </p:nvSpPr>
        <p:spPr>
          <a:xfrm rot="10800000" flipH="1" flipV="1">
            <a:off x="6096000" y="1838323"/>
            <a:ext cx="5629275" cy="2187576"/>
          </a:xfrm>
          <a:prstGeom prst="rect">
            <a:avLst/>
          </a:prstGeom>
          <a:solidFill>
            <a:schemeClr val="bg1">
              <a:lumMod val="95000"/>
            </a:schemeClr>
          </a:solidFill>
        </p:spPr>
        <p:txBody>
          <a:bodyPr vert="horz" anchor="ctr" anchorCtr="0"/>
          <a:lstStyle>
            <a:lvl1pPr marL="0" indent="0" algn="ctr">
              <a:buNone/>
              <a:defRPr lang="en-GB" sz="1500" kern="1200" dirty="0">
                <a:solidFill>
                  <a:schemeClr val="tx1"/>
                </a:solidFill>
                <a:latin typeface="Poppins Light" panose="02000000000000000000" pitchFamily="2" charset="0"/>
                <a:ea typeface="+mn-ea"/>
                <a:cs typeface="Poppins Light" panose="02000000000000000000" pitchFamily="2" charset="0"/>
              </a:defRPr>
            </a:lvl1pPr>
          </a:lstStyle>
          <a:p>
            <a:r>
              <a:rPr lang="en-GB" dirty="0"/>
              <a:t>  Add image and place white rounded shape</a:t>
            </a:r>
            <a:br>
              <a:rPr lang="en-GB" dirty="0"/>
            </a:br>
            <a:r>
              <a:rPr lang="en-GB" dirty="0"/>
              <a:t>on top of edge.</a:t>
            </a:r>
          </a:p>
        </p:txBody>
      </p:sp>
      <p:sp>
        <p:nvSpPr>
          <p:cNvPr id="13" name="Picture Placeholder 4">
            <a:extLst>
              <a:ext uri="{FF2B5EF4-FFF2-40B4-BE49-F238E27FC236}">
                <a16:creationId xmlns:a16="http://schemas.microsoft.com/office/drawing/2014/main" id="{2331483D-6A00-4C60-A9B9-51DB6BD9306B}"/>
              </a:ext>
              <a:ext uri="{C183D7F6-B498-43B3-948B-1728B52AA6E4}">
                <adec:decorative xmlns:adec="http://schemas.microsoft.com/office/drawing/2017/decorative" val="1"/>
              </a:ext>
            </a:extLst>
          </p:cNvPr>
          <p:cNvSpPr>
            <a:spLocks noGrp="1"/>
          </p:cNvSpPr>
          <p:nvPr>
            <p:ph type="pic" sz="quarter" idx="13" hasCustomPrompt="1"/>
          </p:nvPr>
        </p:nvSpPr>
        <p:spPr>
          <a:xfrm rot="10800000" flipH="1" flipV="1">
            <a:off x="6096000" y="4187823"/>
            <a:ext cx="5629275" cy="2187576"/>
          </a:xfrm>
          <a:prstGeom prst="rect">
            <a:avLst/>
          </a:prstGeom>
          <a:solidFill>
            <a:schemeClr val="bg1">
              <a:lumMod val="95000"/>
            </a:schemeClr>
          </a:solidFill>
        </p:spPr>
        <p:txBody>
          <a:bodyPr vert="horz" anchor="ctr" anchorCtr="0"/>
          <a:lstStyle>
            <a:lvl1pPr marL="0" indent="0" algn="ctr">
              <a:buNone/>
              <a:defRPr lang="en-GB" sz="1500" kern="1200" dirty="0">
                <a:solidFill>
                  <a:schemeClr val="tx1"/>
                </a:solidFill>
                <a:latin typeface="Poppins Light" panose="02000000000000000000" pitchFamily="2" charset="0"/>
                <a:ea typeface="+mn-ea"/>
                <a:cs typeface="Poppins Light" panose="02000000000000000000" pitchFamily="2" charset="0"/>
              </a:defRPr>
            </a:lvl1pPr>
          </a:lstStyle>
          <a:p>
            <a:r>
              <a:rPr lang="en-GB" dirty="0"/>
              <a:t> Add image and place white rounded shape</a:t>
            </a:r>
            <a:br>
              <a:rPr lang="en-GB" dirty="0"/>
            </a:br>
            <a:r>
              <a:rPr lang="en-GB" dirty="0"/>
              <a:t>on top of edge. </a:t>
            </a:r>
          </a:p>
        </p:txBody>
      </p:sp>
      <p:sp>
        <p:nvSpPr>
          <p:cNvPr id="17" name="Title 1">
            <a:extLst>
              <a:ext uri="{FF2B5EF4-FFF2-40B4-BE49-F238E27FC236}">
                <a16:creationId xmlns:a16="http://schemas.microsoft.com/office/drawing/2014/main" id="{4A569ACC-D045-4E3B-B3A9-898EA9E59387}"/>
              </a:ext>
            </a:extLst>
          </p:cNvPr>
          <p:cNvSpPr>
            <a:spLocks noGrp="1"/>
          </p:cNvSpPr>
          <p:nvPr>
            <p:ph type="title" hasCustomPrompt="1"/>
          </p:nvPr>
        </p:nvSpPr>
        <p:spPr>
          <a:xfrm>
            <a:off x="472918" y="7258"/>
            <a:ext cx="8130309" cy="831103"/>
          </a:xfrm>
        </p:spPr>
        <p:txBody>
          <a:bodyPr/>
          <a:lstStyle>
            <a:lvl1pPr>
              <a:defRPr>
                <a:solidFill>
                  <a:schemeClr val="tx1"/>
                </a:solidFill>
              </a:defRPr>
            </a:lvl1pPr>
          </a:lstStyle>
          <a:p>
            <a:r>
              <a:rPr lang="en-US" dirty="0"/>
              <a:t>Copy and 2 images slide</a:t>
            </a:r>
            <a:endParaRPr lang="en-GB" dirty="0"/>
          </a:p>
        </p:txBody>
      </p:sp>
      <p:sp>
        <p:nvSpPr>
          <p:cNvPr id="19" name="Text Placeholder 9">
            <a:extLst>
              <a:ext uri="{FF2B5EF4-FFF2-40B4-BE49-F238E27FC236}">
                <a16:creationId xmlns:a16="http://schemas.microsoft.com/office/drawing/2014/main" id="{341977D1-C8E0-4ADD-B5B2-46465E4F17A6}"/>
              </a:ext>
            </a:extLst>
          </p:cNvPr>
          <p:cNvSpPr>
            <a:spLocks noGrp="1"/>
          </p:cNvSpPr>
          <p:nvPr>
            <p:ph type="body" sz="quarter" idx="16" hasCustomPrompt="1"/>
          </p:nvPr>
        </p:nvSpPr>
        <p:spPr>
          <a:xfrm>
            <a:off x="472355" y="1804873"/>
            <a:ext cx="4818235" cy="947739"/>
          </a:xfrm>
        </p:spPr>
        <p:txBody>
          <a:bodyPr anchor="t"/>
          <a:lstStyle>
            <a:lvl1pPr marL="0" indent="0">
              <a:buNone/>
              <a:defRPr lang="en-GB" sz="2000" kern="1200" dirty="0">
                <a:solidFill>
                  <a:schemeClr val="tx1"/>
                </a:solidFill>
                <a:latin typeface="Poppins Medium" panose="02000000000000000000" pitchFamily="2" charset="0"/>
                <a:ea typeface="+mn-ea"/>
                <a:cs typeface="Poppins Medium" panose="02000000000000000000" pitchFamily="2" charset="0"/>
              </a:defRPr>
            </a:lvl1pPr>
            <a:lvl2pPr marL="246057" indent="0">
              <a:buNone/>
              <a:defRPr/>
            </a:lvl2pPr>
            <a:lvl3pPr marL="517512" indent="0">
              <a:buNone/>
              <a:defRPr/>
            </a:lvl3pPr>
            <a:lvl4pPr marL="763569" indent="0">
              <a:buNone/>
              <a:defRPr/>
            </a:lvl4pPr>
            <a:lvl5pPr marL="1057248" indent="0">
              <a:buNone/>
              <a:defRPr/>
            </a:lvl5pPr>
          </a:lstStyle>
          <a:p>
            <a:pPr lvl="0"/>
            <a:r>
              <a:rPr lang="en-US" dirty="0"/>
              <a:t>Intro paragraph over 2 lines. Lorem ipsum dolor sit </a:t>
            </a:r>
            <a:r>
              <a:rPr lang="en-US" dirty="0" err="1"/>
              <a:t>amet</a:t>
            </a:r>
            <a:r>
              <a:rPr lang="en-US" dirty="0"/>
              <a:t>…</a:t>
            </a:r>
            <a:endParaRPr lang="en-GB" dirty="0"/>
          </a:p>
        </p:txBody>
      </p:sp>
      <p:sp>
        <p:nvSpPr>
          <p:cNvPr id="20" name="Text Placeholder 9">
            <a:extLst>
              <a:ext uri="{FF2B5EF4-FFF2-40B4-BE49-F238E27FC236}">
                <a16:creationId xmlns:a16="http://schemas.microsoft.com/office/drawing/2014/main" id="{9C8EDB14-4B21-4BF4-A5F3-AECB9A20D7EA}"/>
              </a:ext>
            </a:extLst>
          </p:cNvPr>
          <p:cNvSpPr>
            <a:spLocks noGrp="1"/>
          </p:cNvSpPr>
          <p:nvPr>
            <p:ph type="body" sz="quarter" idx="17" hasCustomPrompt="1"/>
          </p:nvPr>
        </p:nvSpPr>
        <p:spPr>
          <a:xfrm>
            <a:off x="472355" y="2876490"/>
            <a:ext cx="4818235" cy="3498911"/>
          </a:xfrm>
        </p:spPr>
        <p:txBody>
          <a:bodyPr anchor="t"/>
          <a:lstStyle>
            <a:lvl1pPr marL="0" indent="0">
              <a:buNone/>
              <a:defRPr lang="en-GB" sz="1600" kern="1200" dirty="0">
                <a:solidFill>
                  <a:schemeClr val="tx1"/>
                </a:solidFill>
                <a:latin typeface="Poppins Light" panose="02000000000000000000" pitchFamily="2" charset="0"/>
                <a:ea typeface="+mn-ea"/>
                <a:cs typeface="Poppins Light" panose="02000000000000000000" pitchFamily="2" charset="0"/>
              </a:defRPr>
            </a:lvl1pPr>
            <a:lvl2pPr marL="246057" indent="0">
              <a:buNone/>
              <a:defRPr/>
            </a:lvl2pPr>
            <a:lvl3pPr marL="517512" indent="0">
              <a:buNone/>
              <a:defRPr/>
            </a:lvl3pPr>
            <a:lvl4pPr marL="763569" indent="0">
              <a:buNone/>
              <a:defRPr/>
            </a:lvl4pPr>
            <a:lvl5pPr marL="1057248" indent="0">
              <a:buNone/>
              <a:defRPr/>
            </a:lvl5pPr>
          </a:lstStyle>
          <a:p>
            <a:pPr lvl="0"/>
            <a:r>
              <a:rPr lang="en-US" dirty="0"/>
              <a:t>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non </a:t>
            </a:r>
            <a:r>
              <a:rPr lang="en-US" dirty="0" err="1"/>
              <a:t>proident</a:t>
            </a:r>
            <a:r>
              <a:rPr lang="en-US" dirty="0"/>
              <a:t>, sunt in culpa qui official.</a:t>
            </a:r>
            <a:endParaRPr lang="en-GB" dirty="0"/>
          </a:p>
        </p:txBody>
      </p:sp>
      <p:sp>
        <p:nvSpPr>
          <p:cNvPr id="6" name="Picture Placeholder 5">
            <a:extLst>
              <a:ext uri="{FF2B5EF4-FFF2-40B4-BE49-F238E27FC236}">
                <a16:creationId xmlns:a16="http://schemas.microsoft.com/office/drawing/2014/main" id="{DA3D10A2-2B2B-4098-8C05-991F1BD92CEA}"/>
              </a:ext>
            </a:extLst>
          </p:cNvPr>
          <p:cNvSpPr>
            <a:spLocks noGrp="1"/>
          </p:cNvSpPr>
          <p:nvPr>
            <p:ph type="pic" sz="quarter" idx="18" hasCustomPrompt="1"/>
          </p:nvPr>
        </p:nvSpPr>
        <p:spPr>
          <a:xfrm>
            <a:off x="11014739" y="3317804"/>
            <a:ext cx="830189" cy="830189"/>
          </a:xfrm>
          <a:prstGeom prst="blockArc">
            <a:avLst>
              <a:gd name="adj1" fmla="val 21599999"/>
              <a:gd name="adj2" fmla="val 5574993"/>
              <a:gd name="adj3" fmla="val 14903"/>
            </a:avLst>
          </a:prstGeom>
          <a:solidFill>
            <a:schemeClr val="bg1"/>
          </a:solidFill>
        </p:spPr>
        <p:txBody>
          <a:bodyPr/>
          <a:lstStyle>
            <a:lvl1pPr marL="0" indent="0">
              <a:buNone/>
              <a:defRPr/>
            </a:lvl1pPr>
          </a:lstStyle>
          <a:p>
            <a:r>
              <a:rPr lang="en-GB" dirty="0"/>
              <a:t>  </a:t>
            </a:r>
          </a:p>
        </p:txBody>
      </p:sp>
      <p:sp>
        <p:nvSpPr>
          <p:cNvPr id="14" name="Picture Placeholder 5">
            <a:extLst>
              <a:ext uri="{FF2B5EF4-FFF2-40B4-BE49-F238E27FC236}">
                <a16:creationId xmlns:a16="http://schemas.microsoft.com/office/drawing/2014/main" id="{73EB3699-41C5-475C-94A8-557BA96C8E61}"/>
              </a:ext>
            </a:extLst>
          </p:cNvPr>
          <p:cNvSpPr>
            <a:spLocks noGrp="1"/>
          </p:cNvSpPr>
          <p:nvPr>
            <p:ph type="pic" sz="quarter" idx="19" hasCustomPrompt="1"/>
          </p:nvPr>
        </p:nvSpPr>
        <p:spPr>
          <a:xfrm>
            <a:off x="11014739" y="5671458"/>
            <a:ext cx="830189" cy="830189"/>
          </a:xfrm>
          <a:prstGeom prst="blockArc">
            <a:avLst>
              <a:gd name="adj1" fmla="val 21599999"/>
              <a:gd name="adj2" fmla="val 5574993"/>
              <a:gd name="adj3" fmla="val 14903"/>
            </a:avLst>
          </a:prstGeom>
          <a:solidFill>
            <a:schemeClr val="bg1"/>
          </a:solidFill>
        </p:spPr>
        <p:txBody>
          <a:bodyPr/>
          <a:lstStyle>
            <a:lvl1pPr marL="0" indent="0">
              <a:buNone/>
              <a:defRPr/>
            </a:lvl1pPr>
          </a:lstStyle>
          <a:p>
            <a:r>
              <a:rPr lang="en-GB" dirty="0"/>
              <a:t>  </a:t>
            </a:r>
          </a:p>
        </p:txBody>
      </p:sp>
      <p:sp>
        <p:nvSpPr>
          <p:cNvPr id="12" name="Text Placeholder 9">
            <a:extLst>
              <a:ext uri="{FF2B5EF4-FFF2-40B4-BE49-F238E27FC236}">
                <a16:creationId xmlns:a16="http://schemas.microsoft.com/office/drawing/2014/main" id="{5B8A1627-2370-49BF-8726-673B85B5E7A7}"/>
              </a:ext>
            </a:extLst>
          </p:cNvPr>
          <p:cNvSpPr>
            <a:spLocks noGrp="1"/>
          </p:cNvSpPr>
          <p:nvPr>
            <p:ph type="body" sz="quarter" idx="20" hasCustomPrompt="1"/>
          </p:nvPr>
        </p:nvSpPr>
        <p:spPr>
          <a:xfrm>
            <a:off x="463810" y="903074"/>
            <a:ext cx="8130311" cy="729175"/>
          </a:xfrm>
        </p:spPr>
        <p:txBody>
          <a:bodyPr anchor="t"/>
          <a:lstStyle>
            <a:lvl1pPr marL="0" indent="0">
              <a:buNone/>
              <a:defRPr lang="en-GB" sz="2000" kern="1200" dirty="0">
                <a:solidFill>
                  <a:schemeClr val="tx1"/>
                </a:solidFill>
                <a:latin typeface="Poppins Medium" panose="02000000000000000000" pitchFamily="2" charset="0"/>
                <a:ea typeface="+mn-ea"/>
                <a:cs typeface="Poppins Medium" panose="02000000000000000000" pitchFamily="2" charset="0"/>
              </a:defRPr>
            </a:lvl1pPr>
            <a:lvl2pPr marL="246057" indent="0">
              <a:buNone/>
              <a:defRPr/>
            </a:lvl2pPr>
            <a:lvl3pPr marL="517512" indent="0">
              <a:buNone/>
              <a:defRPr/>
            </a:lvl3pPr>
            <a:lvl4pPr marL="763569" indent="0">
              <a:buNone/>
              <a:defRPr/>
            </a:lvl4pPr>
            <a:lvl5pPr marL="1057248" indent="0">
              <a:buNone/>
              <a:defRPr/>
            </a:lvl5pPr>
          </a:lstStyle>
          <a:p>
            <a:pPr marL="0" lvl="0" indent="0" algn="l" defTabSz="914377" rtl="0" eaLnBrk="1" latinLnBrk="0" hangingPunct="1">
              <a:lnSpc>
                <a:spcPct val="105000"/>
              </a:lnSpc>
              <a:spcBef>
                <a:spcPts val="1000"/>
              </a:spcBef>
              <a:buFont typeface="Wingdings 2" panose="05020102010507070707" pitchFamily="18" charset="2"/>
              <a:buNone/>
            </a:pPr>
            <a:r>
              <a:rPr lang="en-US" dirty="0"/>
              <a:t>Sub-heading</a:t>
            </a:r>
            <a:endParaRPr lang="en-GB" dirty="0"/>
          </a:p>
        </p:txBody>
      </p:sp>
      <p:sp>
        <p:nvSpPr>
          <p:cNvPr id="15" name="Slide Number Placeholder 5">
            <a:extLst>
              <a:ext uri="{FF2B5EF4-FFF2-40B4-BE49-F238E27FC236}">
                <a16:creationId xmlns:a16="http://schemas.microsoft.com/office/drawing/2014/main" id="{7D2C45C7-7536-4019-8C22-659CBFBD6526}"/>
              </a:ext>
            </a:extLst>
          </p:cNvPr>
          <p:cNvSpPr txBox="1">
            <a:spLocks/>
          </p:cNvSpPr>
          <p:nvPr userDrawn="1"/>
        </p:nvSpPr>
        <p:spPr>
          <a:xfrm>
            <a:off x="11387581"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spc="-23" dirty="0">
                <a:solidFill>
                  <a:schemeClr val="tx1"/>
                </a:solidFill>
                <a:sym typeface="Symbol" panose="05050102010706020507" pitchFamily="18" charset="2"/>
              </a:rPr>
              <a:t> </a:t>
            </a:r>
            <a:fld id="{985D5D71-2132-4A0D-A457-AC01235D778F}" type="slidenum">
              <a:rPr lang="en-GB" sz="800" kern="1200" smtClean="0">
                <a:solidFill>
                  <a:schemeClr val="tx1"/>
                </a:solidFill>
                <a:latin typeface="Poppins Medium" panose="02000000000000000000" pitchFamily="2" charset="0"/>
                <a:ea typeface="+mn-ea"/>
                <a:cs typeface="Poppins Medium" panose="02000000000000000000" pitchFamily="2" charset="0"/>
              </a:rPr>
              <a:pPr/>
              <a:t>‹#›</a:t>
            </a:fld>
            <a:endParaRPr lang="en-GB" sz="800" kern="1200" dirty="0">
              <a:solidFill>
                <a:schemeClr val="tx1"/>
              </a:solidFill>
              <a:latin typeface="Poppins Medium" panose="02000000000000000000" pitchFamily="2" charset="0"/>
              <a:ea typeface="+mn-ea"/>
              <a:cs typeface="Poppins Medium" panose="02000000000000000000" pitchFamily="2" charset="0"/>
            </a:endParaRPr>
          </a:p>
        </p:txBody>
      </p:sp>
    </p:spTree>
    <p:extLst>
      <p:ext uri="{BB962C8B-B14F-4D97-AF65-F5344CB8AC3E}">
        <p14:creationId xmlns:p14="http://schemas.microsoft.com/office/powerpoint/2010/main" val="19611041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08B526-9B68-4843-BD7F-4AADDBB20DE8}"/>
              </a:ext>
            </a:extLst>
          </p:cNvPr>
          <p:cNvSpPr>
            <a:spLocks noGrp="1"/>
          </p:cNvSpPr>
          <p:nvPr>
            <p:ph type="title" hasCustomPrompt="1"/>
          </p:nvPr>
        </p:nvSpPr>
        <p:spPr/>
        <p:txBody>
          <a:bodyPr/>
          <a:lstStyle/>
          <a:p>
            <a:r>
              <a:rPr lang="en-US"/>
              <a:t>Click to edit title</a:t>
            </a:r>
            <a:endParaRPr lang="en-GB"/>
          </a:p>
        </p:txBody>
      </p:sp>
      <p:sp>
        <p:nvSpPr>
          <p:cNvPr id="3" name="Date Placeholder 2">
            <a:extLst>
              <a:ext uri="{FF2B5EF4-FFF2-40B4-BE49-F238E27FC236}">
                <a16:creationId xmlns:a16="http://schemas.microsoft.com/office/drawing/2014/main" id="{DF735B1C-0011-47CB-A55C-56F2515F6F7C}"/>
              </a:ext>
            </a:extLst>
          </p:cNvPr>
          <p:cNvSpPr>
            <a:spLocks noGrp="1"/>
          </p:cNvSpPr>
          <p:nvPr>
            <p:ph type="dt" sz="half" idx="10"/>
          </p:nvPr>
        </p:nvSpPr>
        <p:spPr/>
        <p:txBody>
          <a:bodyPr/>
          <a:lstStyle/>
          <a:p>
            <a:fld id="{15EF35FB-004C-443E-91F9-5140C321ADF5}" type="datetime6">
              <a:rPr lang="en-GB" smtClean="0"/>
              <a:t>November 21</a:t>
            </a:fld>
            <a:endParaRPr lang="en-GB"/>
          </a:p>
        </p:txBody>
      </p:sp>
      <p:sp>
        <p:nvSpPr>
          <p:cNvPr id="4" name="Footer Placeholder 3">
            <a:extLst>
              <a:ext uri="{FF2B5EF4-FFF2-40B4-BE49-F238E27FC236}">
                <a16:creationId xmlns:a16="http://schemas.microsoft.com/office/drawing/2014/main" id="{B2D6BFA9-F8B2-42CC-8501-4A8D738FEB34}"/>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BBAF458-2376-4568-9D10-12F71191E217}"/>
              </a:ext>
            </a:extLst>
          </p:cNvPr>
          <p:cNvSpPr>
            <a:spLocks noGrp="1"/>
          </p:cNvSpPr>
          <p:nvPr>
            <p:ph type="sldNum" sz="quarter" idx="12"/>
          </p:nvPr>
        </p:nvSpPr>
        <p:spPr/>
        <p:txBody>
          <a:bodyPr/>
          <a:lstStyle/>
          <a:p>
            <a:fld id="{F4186869-B628-4395-96ED-AD53145CB3D4}" type="slidenum">
              <a:rPr lang="en-GB" smtClean="0"/>
              <a:t>‹#›</a:t>
            </a:fld>
            <a:endParaRPr lang="en-GB"/>
          </a:p>
        </p:txBody>
      </p:sp>
      <p:cxnSp>
        <p:nvCxnSpPr>
          <p:cNvPr id="6" name="Straight Connector 5">
            <a:extLst>
              <a:ext uri="{FF2B5EF4-FFF2-40B4-BE49-F238E27FC236}">
                <a16:creationId xmlns:a16="http://schemas.microsoft.com/office/drawing/2014/main" id="{6414948D-F035-4ACD-B9F1-3D656764B545}"/>
              </a:ext>
            </a:extLst>
          </p:cNvPr>
          <p:cNvCxnSpPr/>
          <p:nvPr userDrawn="1"/>
        </p:nvCxnSpPr>
        <p:spPr>
          <a:xfrm>
            <a:off x="719400" y="1389854"/>
            <a:ext cx="107532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34" name="Picture Placeholder 33">
            <a:extLst>
              <a:ext uri="{FF2B5EF4-FFF2-40B4-BE49-F238E27FC236}">
                <a16:creationId xmlns:a16="http://schemas.microsoft.com/office/drawing/2014/main" id="{0A255E23-D35D-45A6-9FDF-D4DF244ABFC6}"/>
              </a:ext>
            </a:extLst>
          </p:cNvPr>
          <p:cNvSpPr>
            <a:spLocks noGrp="1"/>
          </p:cNvSpPr>
          <p:nvPr>
            <p:ph type="pic" sz="quarter" idx="13" hasCustomPrompt="1"/>
          </p:nvPr>
        </p:nvSpPr>
        <p:spPr>
          <a:xfrm>
            <a:off x="0" y="1487488"/>
            <a:ext cx="12192000" cy="5370512"/>
          </a:xfrm>
          <a:solidFill>
            <a:schemeClr val="bg1">
              <a:lumMod val="95000"/>
            </a:schemeClr>
          </a:solidFill>
        </p:spPr>
        <p:txBody>
          <a:bodyPr anchor="ctr" anchorCtr="0"/>
          <a:lstStyle>
            <a:lvl1pPr algn="ctr">
              <a:defRPr/>
            </a:lvl1pPr>
          </a:lstStyle>
          <a:p>
            <a:r>
              <a:rPr lang="en-GB"/>
              <a:t>Insert image here</a:t>
            </a:r>
          </a:p>
        </p:txBody>
      </p:sp>
      <p:pic>
        <p:nvPicPr>
          <p:cNvPr id="35" name="Picture 34" descr="A picture containing clock, meter&#10;&#10;Description automatically generated">
            <a:extLst>
              <a:ext uri="{FF2B5EF4-FFF2-40B4-BE49-F238E27FC236}">
                <a16:creationId xmlns:a16="http://schemas.microsoft.com/office/drawing/2014/main" id="{B4353B95-F8F3-414A-902D-B1A80971268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39476" y="743133"/>
            <a:ext cx="2686047" cy="339724"/>
          </a:xfrm>
          <a:prstGeom prst="rect">
            <a:avLst/>
          </a:prstGeom>
        </p:spPr>
      </p:pic>
    </p:spTree>
    <p:extLst>
      <p:ext uri="{BB962C8B-B14F-4D97-AF65-F5344CB8AC3E}">
        <p14:creationId xmlns:p14="http://schemas.microsoft.com/office/powerpoint/2010/main" val="2419177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ivider / statement 1">
    <p:spTree>
      <p:nvGrpSpPr>
        <p:cNvPr id="1" name=""/>
        <p:cNvGrpSpPr/>
        <p:nvPr/>
      </p:nvGrpSpPr>
      <p:grpSpPr>
        <a:xfrm>
          <a:off x="0" y="0"/>
          <a:ext cx="0" cy="0"/>
          <a:chOff x="0" y="0"/>
          <a:chExt cx="0" cy="0"/>
        </a:xfrm>
      </p:grpSpPr>
      <p:sp>
        <p:nvSpPr>
          <p:cNvPr id="9" name="Text Placeholder 9">
            <a:extLst>
              <a:ext uri="{FF2B5EF4-FFF2-40B4-BE49-F238E27FC236}">
                <a16:creationId xmlns:a16="http://schemas.microsoft.com/office/drawing/2014/main" id="{721873C7-C6B0-4F10-A734-04E2202A4785}"/>
              </a:ext>
            </a:extLst>
          </p:cNvPr>
          <p:cNvSpPr>
            <a:spLocks noGrp="1"/>
          </p:cNvSpPr>
          <p:nvPr>
            <p:ph type="body" sz="quarter" idx="11" hasCustomPrompt="1"/>
          </p:nvPr>
        </p:nvSpPr>
        <p:spPr>
          <a:xfrm>
            <a:off x="466725" y="2577419"/>
            <a:ext cx="5455104" cy="947739"/>
          </a:xfrm>
        </p:spPr>
        <p:txBody>
          <a:bodyPr anchor="b"/>
          <a:lstStyle>
            <a:lvl1pPr marL="0" indent="0">
              <a:buNone/>
              <a:defRPr lang="en-GB" sz="2800" kern="1200" dirty="0">
                <a:solidFill>
                  <a:schemeClr val="tx1"/>
                </a:solidFill>
                <a:latin typeface="Poppins SemiBold" panose="02000000000000000000" pitchFamily="2" charset="0"/>
                <a:ea typeface="+mn-ea"/>
                <a:cs typeface="Poppins SemiBold" panose="02000000000000000000" pitchFamily="2" charset="0"/>
              </a:defRPr>
            </a:lvl1pPr>
            <a:lvl2pPr marL="246057" indent="0">
              <a:buNone/>
              <a:defRPr/>
            </a:lvl2pPr>
            <a:lvl3pPr marL="517512" indent="0">
              <a:buNone/>
              <a:defRPr/>
            </a:lvl3pPr>
            <a:lvl4pPr marL="763569" indent="0">
              <a:buNone/>
              <a:defRPr/>
            </a:lvl4pPr>
            <a:lvl5pPr marL="1057248" indent="0">
              <a:buNone/>
              <a:defRPr/>
            </a:lvl5pPr>
          </a:lstStyle>
          <a:p>
            <a:pPr lvl="0"/>
            <a:r>
              <a:rPr lang="en-US" dirty="0"/>
              <a:t>Divider/statement slide</a:t>
            </a:r>
            <a:endParaRPr lang="en-GB" dirty="0"/>
          </a:p>
        </p:txBody>
      </p:sp>
      <p:sp>
        <p:nvSpPr>
          <p:cNvPr id="10" name="Text Placeholder 9">
            <a:extLst>
              <a:ext uri="{FF2B5EF4-FFF2-40B4-BE49-F238E27FC236}">
                <a16:creationId xmlns:a16="http://schemas.microsoft.com/office/drawing/2014/main" id="{D635E2F5-E4DF-49DA-A987-8996839F149F}"/>
              </a:ext>
            </a:extLst>
          </p:cNvPr>
          <p:cNvSpPr>
            <a:spLocks noGrp="1"/>
          </p:cNvSpPr>
          <p:nvPr>
            <p:ph type="body" sz="quarter" idx="12" hasCustomPrompt="1"/>
          </p:nvPr>
        </p:nvSpPr>
        <p:spPr>
          <a:xfrm>
            <a:off x="466725" y="3645153"/>
            <a:ext cx="5455104" cy="947739"/>
          </a:xfrm>
        </p:spPr>
        <p:txBody>
          <a:bodyPr anchor="t"/>
          <a:lstStyle>
            <a:lvl1pPr marL="0" indent="0">
              <a:buNone/>
              <a:defRPr lang="en-GB" sz="1900" kern="1200" dirty="0">
                <a:solidFill>
                  <a:schemeClr val="tx1"/>
                </a:solidFill>
                <a:latin typeface="Poppins" panose="02000000000000000000" pitchFamily="2" charset="0"/>
                <a:ea typeface="+mn-ea"/>
                <a:cs typeface="Poppins" panose="02000000000000000000" pitchFamily="2" charset="0"/>
              </a:defRPr>
            </a:lvl1pPr>
            <a:lvl2pPr marL="246057" indent="0">
              <a:buNone/>
              <a:defRPr/>
            </a:lvl2pPr>
            <a:lvl3pPr marL="517512" indent="0">
              <a:buNone/>
              <a:defRPr/>
            </a:lvl3pPr>
            <a:lvl4pPr marL="763569" indent="0">
              <a:buNone/>
              <a:defRPr/>
            </a:lvl4pPr>
            <a:lvl5pPr marL="1057248" indent="0">
              <a:buNone/>
              <a:defRPr/>
            </a:lvl5pPr>
          </a:lstStyle>
          <a:p>
            <a:pPr lvl="0"/>
            <a:r>
              <a:rPr lang="en-US" dirty="0"/>
              <a:t>Sub-heading</a:t>
            </a:r>
            <a:endParaRPr lang="en-GB" dirty="0"/>
          </a:p>
        </p:txBody>
      </p:sp>
      <p:sp>
        <p:nvSpPr>
          <p:cNvPr id="5" name="Slide Number Placeholder 5">
            <a:extLst>
              <a:ext uri="{FF2B5EF4-FFF2-40B4-BE49-F238E27FC236}">
                <a16:creationId xmlns:a16="http://schemas.microsoft.com/office/drawing/2014/main" id="{0A3EE1AB-07BC-4182-9234-8D58B0FBAFC3}"/>
              </a:ext>
            </a:extLst>
          </p:cNvPr>
          <p:cNvSpPr txBox="1">
            <a:spLocks/>
          </p:cNvSpPr>
          <p:nvPr userDrawn="1"/>
        </p:nvSpPr>
        <p:spPr>
          <a:xfrm>
            <a:off x="11387581" y="6472153"/>
            <a:ext cx="341983" cy="211451"/>
          </a:xfrm>
          <a:prstGeom prst="rect">
            <a:avLst/>
          </a:prstGeom>
          <a:noFill/>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spc="-23"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grpSp>
        <p:nvGrpSpPr>
          <p:cNvPr id="3" name="Group 2">
            <a:extLst>
              <a:ext uri="{FF2B5EF4-FFF2-40B4-BE49-F238E27FC236}">
                <a16:creationId xmlns:a16="http://schemas.microsoft.com/office/drawing/2014/main" id="{493E4467-F06B-47DD-B555-3F56CB227A3D}"/>
              </a:ext>
            </a:extLst>
          </p:cNvPr>
          <p:cNvGrpSpPr/>
          <p:nvPr userDrawn="1"/>
        </p:nvGrpSpPr>
        <p:grpSpPr>
          <a:xfrm>
            <a:off x="0" y="-17657"/>
            <a:ext cx="12192000" cy="6892183"/>
            <a:chOff x="0" y="-17657"/>
            <a:chExt cx="12192000" cy="6892182"/>
          </a:xfrm>
        </p:grpSpPr>
        <p:pic>
          <p:nvPicPr>
            <p:cNvPr id="6" name="Picture 5">
              <a:extLst>
                <a:ext uri="{FF2B5EF4-FFF2-40B4-BE49-F238E27FC236}">
                  <a16:creationId xmlns:a16="http://schemas.microsoft.com/office/drawing/2014/main" id="{389F6031-FE48-4AEC-9FC5-C3EFE0045295}"/>
                </a:ext>
              </a:extLst>
            </p:cNvPr>
            <p:cNvPicPr>
              <a:picLocks noChangeAspect="1"/>
            </p:cNvPicPr>
            <p:nvPr userDrawn="1"/>
          </p:nvPicPr>
          <p:blipFill>
            <a:blip r:embed="rId2"/>
            <a:stretch>
              <a:fillRect/>
            </a:stretch>
          </p:blipFill>
          <p:spPr>
            <a:xfrm>
              <a:off x="0" y="-17657"/>
              <a:ext cx="12192000" cy="6892182"/>
            </a:xfrm>
            <a:prstGeom prst="rect">
              <a:avLst/>
            </a:prstGeom>
          </p:spPr>
        </p:pic>
        <p:sp>
          <p:nvSpPr>
            <p:cNvPr id="2" name="Oval 1">
              <a:extLst>
                <a:ext uri="{FF2B5EF4-FFF2-40B4-BE49-F238E27FC236}">
                  <a16:creationId xmlns:a16="http://schemas.microsoft.com/office/drawing/2014/main" id="{EECE8109-0B50-40F4-8FFA-A6279A083C32}"/>
                </a:ext>
              </a:extLst>
            </p:cNvPr>
            <p:cNvSpPr>
              <a:spLocks noChangeAspect="1"/>
            </p:cNvSpPr>
            <p:nvPr userDrawn="1"/>
          </p:nvSpPr>
          <p:spPr>
            <a:xfrm>
              <a:off x="9574924" y="5256529"/>
              <a:ext cx="720000" cy="720000"/>
            </a:xfrm>
            <a:prstGeom prst="ellipse">
              <a:avLst/>
            </a:prstGeom>
            <a:solidFill>
              <a:srgbClr val="277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grpSp>
    </p:spTree>
    <p:extLst>
      <p:ext uri="{BB962C8B-B14F-4D97-AF65-F5344CB8AC3E}">
        <p14:creationId xmlns:p14="http://schemas.microsoft.com/office/powerpoint/2010/main" val="41213037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 statement 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7F3AF1D-3EA3-412A-BABF-8F0C9C085A3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Slide Number Placeholder 5">
            <a:extLst>
              <a:ext uri="{FF2B5EF4-FFF2-40B4-BE49-F238E27FC236}">
                <a16:creationId xmlns:a16="http://schemas.microsoft.com/office/drawing/2014/main" id="{9756D388-3092-486D-9083-320B1961BA4A}"/>
              </a:ext>
            </a:extLst>
          </p:cNvPr>
          <p:cNvSpPr txBox="1">
            <a:spLocks/>
          </p:cNvSpPr>
          <p:nvPr userDrawn="1"/>
        </p:nvSpPr>
        <p:spPr>
          <a:xfrm>
            <a:off x="11387581" y="6472153"/>
            <a:ext cx="341983" cy="211451"/>
          </a:xfrm>
          <a:prstGeom prst="rect">
            <a:avLst/>
          </a:prstGeom>
          <a:noFill/>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spc="-23"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
        <p:nvSpPr>
          <p:cNvPr id="9" name="Text Placeholder 9">
            <a:extLst>
              <a:ext uri="{FF2B5EF4-FFF2-40B4-BE49-F238E27FC236}">
                <a16:creationId xmlns:a16="http://schemas.microsoft.com/office/drawing/2014/main" id="{080224E0-0476-4C82-AEFD-1F768E41ECBB}"/>
              </a:ext>
            </a:extLst>
          </p:cNvPr>
          <p:cNvSpPr>
            <a:spLocks noGrp="1"/>
          </p:cNvSpPr>
          <p:nvPr>
            <p:ph type="body" sz="quarter" idx="11" hasCustomPrompt="1"/>
          </p:nvPr>
        </p:nvSpPr>
        <p:spPr>
          <a:xfrm>
            <a:off x="466725" y="2577419"/>
            <a:ext cx="5455104" cy="947739"/>
          </a:xfrm>
        </p:spPr>
        <p:txBody>
          <a:bodyPr anchor="b"/>
          <a:lstStyle>
            <a:lvl1pPr marL="0" indent="0">
              <a:buNone/>
              <a:defRPr lang="en-GB" sz="2800" kern="1200" dirty="0">
                <a:solidFill>
                  <a:schemeClr val="bg1"/>
                </a:solidFill>
                <a:latin typeface="Poppins SemiBold" panose="02000000000000000000" pitchFamily="2" charset="0"/>
                <a:ea typeface="+mn-ea"/>
                <a:cs typeface="Poppins SemiBold" panose="02000000000000000000" pitchFamily="2" charset="0"/>
              </a:defRPr>
            </a:lvl1pPr>
            <a:lvl2pPr marL="246057" indent="0">
              <a:buNone/>
              <a:defRPr/>
            </a:lvl2pPr>
            <a:lvl3pPr marL="517512" indent="0">
              <a:buNone/>
              <a:defRPr/>
            </a:lvl3pPr>
            <a:lvl4pPr marL="763569" indent="0">
              <a:buNone/>
              <a:defRPr/>
            </a:lvl4pPr>
            <a:lvl5pPr marL="1057248" indent="0">
              <a:buNone/>
              <a:defRPr/>
            </a:lvl5pPr>
          </a:lstStyle>
          <a:p>
            <a:pPr lvl="0"/>
            <a:r>
              <a:rPr lang="en-US" dirty="0"/>
              <a:t>Divider/statement slide</a:t>
            </a:r>
            <a:endParaRPr lang="en-GB" dirty="0"/>
          </a:p>
        </p:txBody>
      </p:sp>
      <p:sp>
        <p:nvSpPr>
          <p:cNvPr id="10" name="Text Placeholder 9">
            <a:extLst>
              <a:ext uri="{FF2B5EF4-FFF2-40B4-BE49-F238E27FC236}">
                <a16:creationId xmlns:a16="http://schemas.microsoft.com/office/drawing/2014/main" id="{F1C79D35-0D5B-4C8A-A36B-599F0BDB166A}"/>
              </a:ext>
            </a:extLst>
          </p:cNvPr>
          <p:cNvSpPr>
            <a:spLocks noGrp="1"/>
          </p:cNvSpPr>
          <p:nvPr>
            <p:ph type="body" sz="quarter" idx="12" hasCustomPrompt="1"/>
          </p:nvPr>
        </p:nvSpPr>
        <p:spPr>
          <a:xfrm>
            <a:off x="466725" y="3645153"/>
            <a:ext cx="5455104" cy="947739"/>
          </a:xfrm>
        </p:spPr>
        <p:txBody>
          <a:bodyPr anchor="t"/>
          <a:lstStyle>
            <a:lvl1pPr marL="0" indent="0">
              <a:buNone/>
              <a:defRPr lang="en-GB" sz="1900" kern="1200" dirty="0">
                <a:solidFill>
                  <a:schemeClr val="bg1"/>
                </a:solidFill>
                <a:latin typeface="Poppins" panose="02000000000000000000" pitchFamily="2" charset="0"/>
                <a:ea typeface="+mn-ea"/>
                <a:cs typeface="Poppins" panose="02000000000000000000" pitchFamily="2" charset="0"/>
              </a:defRPr>
            </a:lvl1pPr>
            <a:lvl2pPr marL="246057" indent="0">
              <a:buNone/>
              <a:defRPr/>
            </a:lvl2pPr>
            <a:lvl3pPr marL="517512" indent="0">
              <a:buNone/>
              <a:defRPr/>
            </a:lvl3pPr>
            <a:lvl4pPr marL="763569" indent="0">
              <a:buNone/>
              <a:defRPr/>
            </a:lvl4pPr>
            <a:lvl5pPr marL="1057248" indent="0">
              <a:buNone/>
              <a:defRPr/>
            </a:lvl5pPr>
          </a:lstStyle>
          <a:p>
            <a:pPr lvl="0"/>
            <a:r>
              <a:rPr lang="en-US" dirty="0"/>
              <a:t>Sub-heading</a:t>
            </a:r>
            <a:endParaRPr lang="en-GB" dirty="0"/>
          </a:p>
        </p:txBody>
      </p:sp>
      <p:sp>
        <p:nvSpPr>
          <p:cNvPr id="6" name="TextBox 5">
            <a:extLst>
              <a:ext uri="{FF2B5EF4-FFF2-40B4-BE49-F238E27FC236}">
                <a16:creationId xmlns:a16="http://schemas.microsoft.com/office/drawing/2014/main" id="{64B91856-37F2-4B78-BB63-C24F2DD70E61}"/>
              </a:ext>
            </a:extLst>
          </p:cNvPr>
          <p:cNvSpPr txBox="1"/>
          <p:nvPr userDrawn="1"/>
        </p:nvSpPr>
        <p:spPr>
          <a:xfrm>
            <a:off x="373711" y="6453309"/>
            <a:ext cx="3872287" cy="215444"/>
          </a:xfrm>
          <a:prstGeom prst="rect">
            <a:avLst/>
          </a:prstGeom>
          <a:noFill/>
        </p:spPr>
        <p:txBody>
          <a:bodyPr wrap="square" rtlCol="0">
            <a:spAutoFit/>
          </a:bodyPr>
          <a:lstStyle/>
          <a:p>
            <a:r>
              <a:rPr lang="en-GB" sz="800" dirty="0" err="1">
                <a:solidFill>
                  <a:schemeClr val="bg1"/>
                </a:solidFill>
                <a:latin typeface="Poppins Medium" panose="02000000000000000000" pitchFamily="2" charset="0"/>
                <a:cs typeface="Poppins Medium" panose="02000000000000000000" pitchFamily="2" charset="0"/>
              </a:rPr>
              <a:t>Zemo</a:t>
            </a:r>
            <a:r>
              <a:rPr lang="en-GB" sz="800" dirty="0">
                <a:solidFill>
                  <a:schemeClr val="bg1"/>
                </a:solidFill>
                <a:latin typeface="Poppins Medium" panose="02000000000000000000" pitchFamily="2" charset="0"/>
                <a:cs typeface="Poppins Medium" panose="02000000000000000000" pitchFamily="2" charset="0"/>
              </a:rPr>
              <a:t> Partnership </a:t>
            </a:r>
            <a:r>
              <a:rPr lang="en-GB" sz="800" dirty="0">
                <a:solidFill>
                  <a:schemeClr val="bg1"/>
                </a:solidFill>
                <a:latin typeface="Poppins" panose="02000000000000000000" pitchFamily="2" charset="0"/>
                <a:cs typeface="Poppins" panose="02000000000000000000" pitchFamily="2" charset="0"/>
              </a:rPr>
              <a:t>© Copyright 2021</a:t>
            </a:r>
          </a:p>
        </p:txBody>
      </p:sp>
    </p:spTree>
    <p:extLst>
      <p:ext uri="{BB962C8B-B14F-4D97-AF65-F5344CB8AC3E}">
        <p14:creationId xmlns:p14="http://schemas.microsoft.com/office/powerpoint/2010/main" val="429498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vider / statement 3">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5F574A6-3049-4E35-AC0A-0314002C783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339771" y="1233716"/>
            <a:ext cx="7852229" cy="5629433"/>
          </a:xfrm>
          <a:prstGeom prst="rect">
            <a:avLst/>
          </a:prstGeom>
        </p:spPr>
      </p:pic>
      <p:sp>
        <p:nvSpPr>
          <p:cNvPr id="7" name="Slide Number Placeholder 5">
            <a:extLst>
              <a:ext uri="{FF2B5EF4-FFF2-40B4-BE49-F238E27FC236}">
                <a16:creationId xmlns:a16="http://schemas.microsoft.com/office/drawing/2014/main" id="{B02194DB-3D46-45CF-B98F-BE17173B6F59}"/>
              </a:ext>
            </a:extLst>
          </p:cNvPr>
          <p:cNvSpPr txBox="1">
            <a:spLocks/>
          </p:cNvSpPr>
          <p:nvPr userDrawn="1"/>
        </p:nvSpPr>
        <p:spPr>
          <a:xfrm>
            <a:off x="11387581" y="6472153"/>
            <a:ext cx="341983" cy="211451"/>
          </a:xfrm>
          <a:prstGeom prst="rect">
            <a:avLst/>
          </a:prstGeom>
          <a:noFill/>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spc="-23"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
        <p:nvSpPr>
          <p:cNvPr id="9" name="Text Placeholder 9">
            <a:extLst>
              <a:ext uri="{FF2B5EF4-FFF2-40B4-BE49-F238E27FC236}">
                <a16:creationId xmlns:a16="http://schemas.microsoft.com/office/drawing/2014/main" id="{EAA76DE0-BB6C-44EB-BBF1-0EE0566A10E7}"/>
              </a:ext>
            </a:extLst>
          </p:cNvPr>
          <p:cNvSpPr>
            <a:spLocks noGrp="1"/>
          </p:cNvSpPr>
          <p:nvPr>
            <p:ph type="body" sz="quarter" idx="11" hasCustomPrompt="1"/>
          </p:nvPr>
        </p:nvSpPr>
        <p:spPr>
          <a:xfrm>
            <a:off x="466725" y="2577419"/>
            <a:ext cx="5455104" cy="947739"/>
          </a:xfrm>
        </p:spPr>
        <p:txBody>
          <a:bodyPr anchor="b"/>
          <a:lstStyle>
            <a:lvl1pPr marL="0" indent="0">
              <a:buNone/>
              <a:defRPr lang="en-GB" sz="2800" kern="1200" dirty="0">
                <a:solidFill>
                  <a:schemeClr val="tx1"/>
                </a:solidFill>
                <a:latin typeface="Poppins SemiBold" panose="02000000000000000000" pitchFamily="2" charset="0"/>
                <a:ea typeface="+mn-ea"/>
                <a:cs typeface="Poppins SemiBold" panose="02000000000000000000" pitchFamily="2" charset="0"/>
              </a:defRPr>
            </a:lvl1pPr>
            <a:lvl2pPr marL="246057" indent="0">
              <a:buNone/>
              <a:defRPr/>
            </a:lvl2pPr>
            <a:lvl3pPr marL="517512" indent="0">
              <a:buNone/>
              <a:defRPr/>
            </a:lvl3pPr>
            <a:lvl4pPr marL="763569" indent="0">
              <a:buNone/>
              <a:defRPr/>
            </a:lvl4pPr>
            <a:lvl5pPr marL="1057248" indent="0">
              <a:buNone/>
              <a:defRPr/>
            </a:lvl5pPr>
          </a:lstStyle>
          <a:p>
            <a:pPr lvl="0"/>
            <a:r>
              <a:rPr lang="en-US" dirty="0"/>
              <a:t>Divider/statement slide</a:t>
            </a:r>
            <a:endParaRPr lang="en-GB" dirty="0"/>
          </a:p>
        </p:txBody>
      </p:sp>
      <p:sp>
        <p:nvSpPr>
          <p:cNvPr id="10" name="Text Placeholder 9">
            <a:extLst>
              <a:ext uri="{FF2B5EF4-FFF2-40B4-BE49-F238E27FC236}">
                <a16:creationId xmlns:a16="http://schemas.microsoft.com/office/drawing/2014/main" id="{AEDB77B7-26ED-4319-B10C-03D4439CD646}"/>
              </a:ext>
            </a:extLst>
          </p:cNvPr>
          <p:cNvSpPr>
            <a:spLocks noGrp="1"/>
          </p:cNvSpPr>
          <p:nvPr>
            <p:ph type="body" sz="quarter" idx="12" hasCustomPrompt="1"/>
          </p:nvPr>
        </p:nvSpPr>
        <p:spPr>
          <a:xfrm>
            <a:off x="466725" y="3645153"/>
            <a:ext cx="5455104" cy="947739"/>
          </a:xfrm>
        </p:spPr>
        <p:txBody>
          <a:bodyPr anchor="t"/>
          <a:lstStyle>
            <a:lvl1pPr marL="0" indent="0">
              <a:buNone/>
              <a:defRPr lang="en-GB" sz="1900" kern="1200" dirty="0">
                <a:solidFill>
                  <a:schemeClr val="tx1"/>
                </a:solidFill>
                <a:latin typeface="Poppins" panose="02000000000000000000" pitchFamily="2" charset="0"/>
                <a:ea typeface="+mn-ea"/>
                <a:cs typeface="Poppins" panose="02000000000000000000" pitchFamily="2" charset="0"/>
              </a:defRPr>
            </a:lvl1pPr>
            <a:lvl2pPr marL="246057" indent="0">
              <a:buNone/>
              <a:defRPr/>
            </a:lvl2pPr>
            <a:lvl3pPr marL="517512" indent="0">
              <a:buNone/>
              <a:defRPr/>
            </a:lvl3pPr>
            <a:lvl4pPr marL="763569" indent="0">
              <a:buNone/>
              <a:defRPr/>
            </a:lvl4pPr>
            <a:lvl5pPr marL="1057248" indent="0">
              <a:buNone/>
              <a:defRPr/>
            </a:lvl5pPr>
          </a:lstStyle>
          <a:p>
            <a:pPr lvl="0"/>
            <a:r>
              <a:rPr lang="en-US" dirty="0"/>
              <a:t>Sub-heading</a:t>
            </a:r>
            <a:endParaRPr lang="en-GB" dirty="0"/>
          </a:p>
        </p:txBody>
      </p:sp>
    </p:spTree>
    <p:extLst>
      <p:ext uri="{BB962C8B-B14F-4D97-AF65-F5344CB8AC3E}">
        <p14:creationId xmlns:p14="http://schemas.microsoft.com/office/powerpoint/2010/main" val="35229548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 pag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DE5FF99-F090-432D-AC90-928E3924851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065485" y="2235200"/>
            <a:ext cx="7126515" cy="4622800"/>
          </a:xfrm>
          <a:prstGeom prst="rect">
            <a:avLst/>
          </a:prstGeom>
        </p:spPr>
      </p:pic>
      <p:sp>
        <p:nvSpPr>
          <p:cNvPr id="2" name="TextBox 1">
            <a:extLst>
              <a:ext uri="{FF2B5EF4-FFF2-40B4-BE49-F238E27FC236}">
                <a16:creationId xmlns:a16="http://schemas.microsoft.com/office/drawing/2014/main" id="{97DA2CF9-9B30-42F3-BCEA-8FB4097068F3}"/>
              </a:ext>
            </a:extLst>
          </p:cNvPr>
          <p:cNvSpPr txBox="1"/>
          <p:nvPr userDrawn="1"/>
        </p:nvSpPr>
        <p:spPr>
          <a:xfrm>
            <a:off x="383455" y="2781565"/>
            <a:ext cx="319315" cy="384721"/>
          </a:xfrm>
          <a:prstGeom prst="rect">
            <a:avLst/>
          </a:prstGeom>
          <a:noFill/>
        </p:spPr>
        <p:txBody>
          <a:bodyPr wrap="square" rtlCol="0">
            <a:spAutoFit/>
          </a:bodyPr>
          <a:lstStyle/>
          <a:p>
            <a:r>
              <a:rPr lang="en-US" sz="1900" kern="1200" dirty="0">
                <a:solidFill>
                  <a:schemeClr val="tx1"/>
                </a:solidFill>
                <a:latin typeface="Poppins Medium" panose="02000000000000000000" pitchFamily="2" charset="0"/>
                <a:ea typeface="+mn-ea"/>
                <a:cs typeface="Poppins Medium" panose="02000000000000000000" pitchFamily="2" charset="0"/>
              </a:rPr>
              <a:t>“</a:t>
            </a:r>
            <a:endParaRPr lang="en-GB" sz="1900" kern="1200" dirty="0">
              <a:solidFill>
                <a:schemeClr val="tx1"/>
              </a:solidFill>
              <a:latin typeface="Poppins Medium" panose="02000000000000000000" pitchFamily="2" charset="0"/>
              <a:ea typeface="+mn-ea"/>
              <a:cs typeface="Poppins Medium" panose="02000000000000000000" pitchFamily="2" charset="0"/>
            </a:endParaRPr>
          </a:p>
        </p:txBody>
      </p:sp>
      <p:sp>
        <p:nvSpPr>
          <p:cNvPr id="9" name="Slide Number Placeholder 5">
            <a:extLst>
              <a:ext uri="{FF2B5EF4-FFF2-40B4-BE49-F238E27FC236}">
                <a16:creationId xmlns:a16="http://schemas.microsoft.com/office/drawing/2014/main" id="{7D688C7F-FF86-49F3-97BA-61E01E8CDFD4}"/>
              </a:ext>
            </a:extLst>
          </p:cNvPr>
          <p:cNvSpPr txBox="1">
            <a:spLocks/>
          </p:cNvSpPr>
          <p:nvPr userDrawn="1"/>
        </p:nvSpPr>
        <p:spPr>
          <a:xfrm>
            <a:off x="11387581" y="6472153"/>
            <a:ext cx="341983" cy="211451"/>
          </a:xfrm>
          <a:prstGeom prst="rect">
            <a:avLst/>
          </a:prstGeom>
          <a:noFill/>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spc="-23"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
        <p:nvSpPr>
          <p:cNvPr id="12" name="Text Placeholder 9">
            <a:extLst>
              <a:ext uri="{FF2B5EF4-FFF2-40B4-BE49-F238E27FC236}">
                <a16:creationId xmlns:a16="http://schemas.microsoft.com/office/drawing/2014/main" id="{CF3B5DA4-E01C-442D-82C0-19B8EB8CB729}"/>
              </a:ext>
            </a:extLst>
          </p:cNvPr>
          <p:cNvSpPr>
            <a:spLocks noGrp="1"/>
          </p:cNvSpPr>
          <p:nvPr>
            <p:ph type="body" sz="quarter" idx="12" hasCustomPrompt="1"/>
          </p:nvPr>
        </p:nvSpPr>
        <p:spPr>
          <a:xfrm>
            <a:off x="558987" y="2818404"/>
            <a:ext cx="6264088" cy="610597"/>
          </a:xfrm>
        </p:spPr>
        <p:txBody>
          <a:bodyPr anchor="t"/>
          <a:lstStyle>
            <a:lvl1pPr marL="0" indent="0">
              <a:buNone/>
              <a:defRPr lang="en-GB" sz="1900" kern="1200" dirty="0">
                <a:solidFill>
                  <a:schemeClr val="tx1"/>
                </a:solidFill>
                <a:latin typeface="Poppins Medium" panose="02000000000000000000" pitchFamily="2" charset="0"/>
                <a:ea typeface="+mn-ea"/>
                <a:cs typeface="Poppins Medium" panose="02000000000000000000" pitchFamily="2" charset="0"/>
              </a:defRPr>
            </a:lvl1pPr>
            <a:lvl2pPr marL="246057" indent="0">
              <a:buNone/>
              <a:defRPr/>
            </a:lvl2pPr>
            <a:lvl3pPr marL="517512" indent="0">
              <a:buNone/>
              <a:defRPr/>
            </a:lvl3pPr>
            <a:lvl4pPr marL="763569" indent="0">
              <a:buNone/>
              <a:defRPr/>
            </a:lvl4pPr>
            <a:lvl5pPr marL="1057248" indent="0">
              <a:buNone/>
              <a:defRPr/>
            </a:lvl5pPr>
          </a:lstStyle>
          <a:p>
            <a:pPr lvl="0"/>
            <a:r>
              <a:rPr lang="en-US" dirty="0"/>
              <a:t>Quote.”</a:t>
            </a:r>
            <a:endParaRPr lang="en-GB" dirty="0"/>
          </a:p>
        </p:txBody>
      </p:sp>
      <p:sp>
        <p:nvSpPr>
          <p:cNvPr id="13" name="Text Placeholder 9">
            <a:extLst>
              <a:ext uri="{FF2B5EF4-FFF2-40B4-BE49-F238E27FC236}">
                <a16:creationId xmlns:a16="http://schemas.microsoft.com/office/drawing/2014/main" id="{589676E9-8089-4D1F-ABF2-2E7658931CC7}"/>
              </a:ext>
            </a:extLst>
          </p:cNvPr>
          <p:cNvSpPr>
            <a:spLocks noGrp="1"/>
          </p:cNvSpPr>
          <p:nvPr>
            <p:ph type="body" sz="quarter" idx="13" hasCustomPrompt="1"/>
          </p:nvPr>
        </p:nvSpPr>
        <p:spPr>
          <a:xfrm>
            <a:off x="558987" y="3516904"/>
            <a:ext cx="6264088" cy="610597"/>
          </a:xfrm>
        </p:spPr>
        <p:txBody>
          <a:bodyPr anchor="t"/>
          <a:lstStyle>
            <a:lvl1pPr marL="0" indent="0">
              <a:buNone/>
              <a:defRPr lang="en-GB" sz="1900" kern="1200" dirty="0">
                <a:solidFill>
                  <a:schemeClr val="tx1"/>
                </a:solidFill>
                <a:latin typeface="Poppins" panose="02000000000000000000" pitchFamily="2" charset="0"/>
                <a:ea typeface="+mn-ea"/>
                <a:cs typeface="Poppins" panose="02000000000000000000" pitchFamily="2" charset="0"/>
              </a:defRPr>
            </a:lvl1pPr>
            <a:lvl2pPr marL="246057" indent="0">
              <a:buNone/>
              <a:defRPr/>
            </a:lvl2pPr>
            <a:lvl3pPr marL="517512" indent="0">
              <a:buNone/>
              <a:defRPr/>
            </a:lvl3pPr>
            <a:lvl4pPr marL="763569" indent="0">
              <a:buNone/>
              <a:defRPr/>
            </a:lvl4pPr>
            <a:lvl5pPr marL="1057248" indent="0">
              <a:buNone/>
              <a:defRPr/>
            </a:lvl5pPr>
          </a:lstStyle>
          <a:p>
            <a:pPr lvl="0"/>
            <a:r>
              <a:rPr lang="en-US" dirty="0"/>
              <a:t>Member name / logo</a:t>
            </a:r>
            <a:endParaRPr lang="en-GB" dirty="0"/>
          </a:p>
        </p:txBody>
      </p:sp>
      <p:sp>
        <p:nvSpPr>
          <p:cNvPr id="14" name="Text Placeholder 9">
            <a:extLst>
              <a:ext uri="{FF2B5EF4-FFF2-40B4-BE49-F238E27FC236}">
                <a16:creationId xmlns:a16="http://schemas.microsoft.com/office/drawing/2014/main" id="{FE01AFEC-A5FE-4F80-ABC1-E21D30F02C44}"/>
              </a:ext>
            </a:extLst>
          </p:cNvPr>
          <p:cNvSpPr>
            <a:spLocks noGrp="1"/>
          </p:cNvSpPr>
          <p:nvPr>
            <p:ph type="body" sz="quarter" idx="14" hasCustomPrompt="1"/>
          </p:nvPr>
        </p:nvSpPr>
        <p:spPr>
          <a:xfrm>
            <a:off x="479613" y="2121164"/>
            <a:ext cx="6343463" cy="610597"/>
          </a:xfrm>
        </p:spPr>
        <p:txBody>
          <a:bodyPr anchor="b"/>
          <a:lstStyle>
            <a:lvl1pPr marL="0" indent="0">
              <a:buNone/>
              <a:defRPr lang="en-GB" sz="2800" kern="1200" cap="all" baseline="0" dirty="0">
                <a:solidFill>
                  <a:schemeClr val="tx1"/>
                </a:solidFill>
                <a:latin typeface="Poppins SemiBold" panose="02000000000000000000" pitchFamily="2" charset="0"/>
                <a:ea typeface="+mn-ea"/>
                <a:cs typeface="Poppins SemiBold" panose="02000000000000000000" pitchFamily="2" charset="0"/>
              </a:defRPr>
            </a:lvl1pPr>
            <a:lvl2pPr marL="246057" indent="0">
              <a:buNone/>
              <a:defRPr/>
            </a:lvl2pPr>
            <a:lvl3pPr marL="517512" indent="0">
              <a:buNone/>
              <a:defRPr/>
            </a:lvl3pPr>
            <a:lvl4pPr marL="763569" indent="0">
              <a:buNone/>
              <a:defRPr/>
            </a:lvl4pPr>
            <a:lvl5pPr marL="1057248" indent="0">
              <a:buNone/>
              <a:defRPr/>
            </a:lvl5pPr>
          </a:lstStyle>
          <a:p>
            <a:pPr marL="0" lvl="0" indent="0" algn="l" defTabSz="914377" rtl="0" eaLnBrk="1" latinLnBrk="0" hangingPunct="1">
              <a:lnSpc>
                <a:spcPct val="105000"/>
              </a:lnSpc>
              <a:spcBef>
                <a:spcPts val="1000"/>
              </a:spcBef>
              <a:buFont typeface="Wingdings 2" panose="05020102010507070707" pitchFamily="18" charset="2"/>
              <a:buNone/>
            </a:pPr>
            <a:r>
              <a:rPr lang="en-US" dirty="0"/>
              <a:t>Member name</a:t>
            </a:r>
            <a:endParaRPr lang="en-GB" dirty="0"/>
          </a:p>
        </p:txBody>
      </p:sp>
    </p:spTree>
    <p:extLst>
      <p:ext uri="{BB962C8B-B14F-4D97-AF65-F5344CB8AC3E}">
        <p14:creationId xmlns:p14="http://schemas.microsoft.com/office/powerpoint/2010/main" val="9967274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mage or diagram slide b">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24D6E88-7EA6-415C-9C96-337D3DA47F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8810171" y="5457372"/>
            <a:ext cx="3381829" cy="1404797"/>
          </a:xfrm>
          <a:prstGeom prst="rect">
            <a:avLst/>
          </a:prstGeom>
        </p:spPr>
      </p:pic>
      <p:sp>
        <p:nvSpPr>
          <p:cNvPr id="2" name="Title 1">
            <a:extLst>
              <a:ext uri="{FF2B5EF4-FFF2-40B4-BE49-F238E27FC236}">
                <a16:creationId xmlns:a16="http://schemas.microsoft.com/office/drawing/2014/main" id="{086B2ED4-0683-4869-85D3-EDA0DE8E01EB}"/>
              </a:ext>
            </a:extLst>
          </p:cNvPr>
          <p:cNvSpPr>
            <a:spLocks noGrp="1"/>
          </p:cNvSpPr>
          <p:nvPr>
            <p:ph type="title" hasCustomPrompt="1"/>
          </p:nvPr>
        </p:nvSpPr>
        <p:spPr>
          <a:xfrm>
            <a:off x="472918" y="0"/>
            <a:ext cx="8130311" cy="852603"/>
          </a:xfrm>
        </p:spPr>
        <p:txBody>
          <a:bodyPr/>
          <a:lstStyle>
            <a:lvl1pPr>
              <a:defRPr>
                <a:solidFill>
                  <a:schemeClr val="tx1"/>
                </a:solidFill>
              </a:defRPr>
            </a:lvl1pPr>
          </a:lstStyle>
          <a:p>
            <a:r>
              <a:rPr lang="en-GB" dirty="0"/>
              <a:t>Image or diagram slide</a:t>
            </a:r>
          </a:p>
        </p:txBody>
      </p:sp>
      <p:sp>
        <p:nvSpPr>
          <p:cNvPr id="5" name="Slide Number Placeholder 5">
            <a:extLst>
              <a:ext uri="{FF2B5EF4-FFF2-40B4-BE49-F238E27FC236}">
                <a16:creationId xmlns:a16="http://schemas.microsoft.com/office/drawing/2014/main" id="{3EE08843-0DDD-4D7C-9AA4-5F3B9B2EC431}"/>
              </a:ext>
            </a:extLst>
          </p:cNvPr>
          <p:cNvSpPr txBox="1">
            <a:spLocks/>
          </p:cNvSpPr>
          <p:nvPr userDrawn="1"/>
        </p:nvSpPr>
        <p:spPr>
          <a:xfrm>
            <a:off x="11387581"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spc="-23"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
        <p:nvSpPr>
          <p:cNvPr id="8" name="Text Placeholder 9">
            <a:extLst>
              <a:ext uri="{FF2B5EF4-FFF2-40B4-BE49-F238E27FC236}">
                <a16:creationId xmlns:a16="http://schemas.microsoft.com/office/drawing/2014/main" id="{56B6317A-B543-419B-B555-D797CE09C44B}"/>
              </a:ext>
            </a:extLst>
          </p:cNvPr>
          <p:cNvSpPr>
            <a:spLocks noGrp="1"/>
          </p:cNvSpPr>
          <p:nvPr>
            <p:ph type="body" sz="quarter" idx="12" hasCustomPrompt="1"/>
          </p:nvPr>
        </p:nvSpPr>
        <p:spPr>
          <a:xfrm>
            <a:off x="463809" y="903074"/>
            <a:ext cx="8139419" cy="729175"/>
          </a:xfrm>
        </p:spPr>
        <p:txBody>
          <a:bodyPr anchor="t"/>
          <a:lstStyle>
            <a:lvl1pPr marL="0" indent="0">
              <a:buNone/>
              <a:defRPr lang="en-GB" sz="2000" kern="1200" dirty="0">
                <a:solidFill>
                  <a:schemeClr val="tx1"/>
                </a:solidFill>
                <a:latin typeface="Poppins Medium" panose="02000000000000000000" pitchFamily="2" charset="0"/>
                <a:ea typeface="+mn-ea"/>
                <a:cs typeface="Poppins Medium" panose="02000000000000000000" pitchFamily="2" charset="0"/>
              </a:defRPr>
            </a:lvl1pPr>
            <a:lvl2pPr marL="246057" indent="0">
              <a:buNone/>
              <a:defRPr/>
            </a:lvl2pPr>
            <a:lvl3pPr marL="517512" indent="0">
              <a:buNone/>
              <a:defRPr/>
            </a:lvl3pPr>
            <a:lvl4pPr marL="763569" indent="0">
              <a:buNone/>
              <a:defRPr/>
            </a:lvl4pPr>
            <a:lvl5pPr marL="1057248" indent="0">
              <a:buNone/>
              <a:defRPr/>
            </a:lvl5pPr>
          </a:lstStyle>
          <a:p>
            <a:pPr marL="0" lvl="0" indent="0" algn="l" defTabSz="914377" rtl="0" eaLnBrk="1" latinLnBrk="0" hangingPunct="1">
              <a:lnSpc>
                <a:spcPct val="105000"/>
              </a:lnSpc>
              <a:spcBef>
                <a:spcPts val="1000"/>
              </a:spcBef>
              <a:buFont typeface="Wingdings 2" panose="05020102010507070707" pitchFamily="18" charset="2"/>
              <a:buNone/>
            </a:pPr>
            <a:r>
              <a:rPr lang="en-US" dirty="0"/>
              <a:t>Sub-heading</a:t>
            </a:r>
            <a:endParaRPr lang="en-GB" dirty="0"/>
          </a:p>
        </p:txBody>
      </p:sp>
    </p:spTree>
    <p:extLst>
      <p:ext uri="{BB962C8B-B14F-4D97-AF65-F5344CB8AC3E}">
        <p14:creationId xmlns:p14="http://schemas.microsoft.com/office/powerpoint/2010/main" val="32478976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mage or diagram slide c">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5944F0F-F605-4EB8-9C41-9DE6EEA4E25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9695544" y="4064001"/>
            <a:ext cx="2496457" cy="2799147"/>
          </a:xfrm>
          <a:prstGeom prst="rect">
            <a:avLst/>
          </a:prstGeom>
        </p:spPr>
      </p:pic>
      <p:sp>
        <p:nvSpPr>
          <p:cNvPr id="2" name="Title 1">
            <a:extLst>
              <a:ext uri="{FF2B5EF4-FFF2-40B4-BE49-F238E27FC236}">
                <a16:creationId xmlns:a16="http://schemas.microsoft.com/office/drawing/2014/main" id="{086B2ED4-0683-4869-85D3-EDA0DE8E01EB}"/>
              </a:ext>
            </a:extLst>
          </p:cNvPr>
          <p:cNvSpPr>
            <a:spLocks noGrp="1"/>
          </p:cNvSpPr>
          <p:nvPr>
            <p:ph type="title" hasCustomPrompt="1"/>
          </p:nvPr>
        </p:nvSpPr>
        <p:spPr>
          <a:xfrm>
            <a:off x="472917" y="3901"/>
            <a:ext cx="8159083" cy="852603"/>
          </a:xfrm>
        </p:spPr>
        <p:txBody>
          <a:bodyPr/>
          <a:lstStyle>
            <a:lvl1pPr>
              <a:defRPr>
                <a:solidFill>
                  <a:schemeClr val="tx1"/>
                </a:solidFill>
              </a:defRPr>
            </a:lvl1pPr>
          </a:lstStyle>
          <a:p>
            <a:r>
              <a:rPr lang="en-GB" dirty="0"/>
              <a:t>Image or diagram slide</a:t>
            </a:r>
          </a:p>
        </p:txBody>
      </p:sp>
      <p:sp>
        <p:nvSpPr>
          <p:cNvPr id="5" name="Slide Number Placeholder 5">
            <a:extLst>
              <a:ext uri="{FF2B5EF4-FFF2-40B4-BE49-F238E27FC236}">
                <a16:creationId xmlns:a16="http://schemas.microsoft.com/office/drawing/2014/main" id="{3EE08843-0DDD-4D7C-9AA4-5F3B9B2EC431}"/>
              </a:ext>
            </a:extLst>
          </p:cNvPr>
          <p:cNvSpPr txBox="1">
            <a:spLocks/>
          </p:cNvSpPr>
          <p:nvPr userDrawn="1"/>
        </p:nvSpPr>
        <p:spPr>
          <a:xfrm>
            <a:off x="11387581"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spc="-23"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
        <p:nvSpPr>
          <p:cNvPr id="6" name="Text Placeholder 9">
            <a:extLst>
              <a:ext uri="{FF2B5EF4-FFF2-40B4-BE49-F238E27FC236}">
                <a16:creationId xmlns:a16="http://schemas.microsoft.com/office/drawing/2014/main" id="{3C1E292A-4F87-4AD1-A86C-22D64536E440}"/>
              </a:ext>
            </a:extLst>
          </p:cNvPr>
          <p:cNvSpPr>
            <a:spLocks noGrp="1"/>
          </p:cNvSpPr>
          <p:nvPr>
            <p:ph type="body" sz="quarter" idx="12" hasCustomPrompt="1"/>
          </p:nvPr>
        </p:nvSpPr>
        <p:spPr>
          <a:xfrm>
            <a:off x="463809" y="903074"/>
            <a:ext cx="8159083" cy="729175"/>
          </a:xfrm>
        </p:spPr>
        <p:txBody>
          <a:bodyPr anchor="t"/>
          <a:lstStyle>
            <a:lvl1pPr marL="0" indent="0">
              <a:buNone/>
              <a:defRPr lang="en-GB" sz="2000" kern="1200" dirty="0">
                <a:solidFill>
                  <a:schemeClr val="tx1"/>
                </a:solidFill>
                <a:latin typeface="Poppins Medium" panose="02000000000000000000" pitchFamily="2" charset="0"/>
                <a:ea typeface="+mn-ea"/>
                <a:cs typeface="Poppins Medium" panose="02000000000000000000" pitchFamily="2" charset="0"/>
              </a:defRPr>
            </a:lvl1pPr>
            <a:lvl2pPr marL="246057" indent="0">
              <a:buNone/>
              <a:defRPr/>
            </a:lvl2pPr>
            <a:lvl3pPr marL="517512" indent="0">
              <a:buNone/>
              <a:defRPr/>
            </a:lvl3pPr>
            <a:lvl4pPr marL="763569" indent="0">
              <a:buNone/>
              <a:defRPr/>
            </a:lvl4pPr>
            <a:lvl5pPr marL="1057248" indent="0">
              <a:buNone/>
              <a:defRPr/>
            </a:lvl5pPr>
          </a:lstStyle>
          <a:p>
            <a:pPr marL="0" lvl="0" indent="0" algn="l" defTabSz="914377" rtl="0" eaLnBrk="1" latinLnBrk="0" hangingPunct="1">
              <a:lnSpc>
                <a:spcPct val="105000"/>
              </a:lnSpc>
              <a:spcBef>
                <a:spcPts val="1000"/>
              </a:spcBef>
              <a:buFont typeface="Wingdings 2" panose="05020102010507070707" pitchFamily="18" charset="2"/>
              <a:buNone/>
            </a:pPr>
            <a:r>
              <a:rPr lang="en-US" dirty="0"/>
              <a:t>Sub-heading</a:t>
            </a:r>
            <a:endParaRPr lang="en-GB" dirty="0"/>
          </a:p>
        </p:txBody>
      </p:sp>
    </p:spTree>
    <p:extLst>
      <p:ext uri="{BB962C8B-B14F-4D97-AF65-F5344CB8AC3E}">
        <p14:creationId xmlns:p14="http://schemas.microsoft.com/office/powerpoint/2010/main" val="32571732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2BDE0A88-1698-4357-8180-2BCB9EA8EFE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384800" y="812800"/>
            <a:ext cx="6807200" cy="6049368"/>
          </a:xfrm>
          <a:prstGeom prst="rect">
            <a:avLst/>
          </a:prstGeom>
        </p:spPr>
      </p:pic>
      <p:sp>
        <p:nvSpPr>
          <p:cNvPr id="3" name="Content Placeholder 2">
            <a:extLst>
              <a:ext uri="{FF2B5EF4-FFF2-40B4-BE49-F238E27FC236}">
                <a16:creationId xmlns:a16="http://schemas.microsoft.com/office/drawing/2014/main" id="{554F0A75-3481-44BF-B53C-CF96990D8914}"/>
              </a:ext>
            </a:extLst>
          </p:cNvPr>
          <p:cNvSpPr>
            <a:spLocks noGrp="1"/>
          </p:cNvSpPr>
          <p:nvPr>
            <p:ph idx="1" hasCustomPrompt="1"/>
          </p:nvPr>
        </p:nvSpPr>
        <p:spPr>
          <a:xfrm>
            <a:off x="472918" y="2922062"/>
            <a:ext cx="3467965" cy="266351"/>
          </a:xfrm>
        </p:spPr>
        <p:txBody>
          <a:bodyPr/>
          <a:lstStyle>
            <a:lvl1pPr marL="0" indent="0">
              <a:buNone/>
              <a:defRPr sz="1500">
                <a:solidFill>
                  <a:schemeClr val="tx1"/>
                </a:solidFill>
              </a:defRPr>
            </a:lvl1pPr>
            <a:lvl2pPr marL="246057" indent="0">
              <a:buNone/>
              <a:defRPr>
                <a:solidFill>
                  <a:schemeClr val="tx1"/>
                </a:solidFill>
              </a:defRPr>
            </a:lvl2pPr>
            <a:lvl3pPr marL="517512" indent="0">
              <a:buNone/>
              <a:defRPr>
                <a:solidFill>
                  <a:schemeClr val="tx1"/>
                </a:solidFill>
              </a:defRPr>
            </a:lvl3pPr>
            <a:lvl4pPr marL="763569" indent="0">
              <a:buNone/>
              <a:defRPr>
                <a:solidFill>
                  <a:schemeClr val="tx1"/>
                </a:solidFill>
              </a:defRPr>
            </a:lvl4pPr>
            <a:lvl5pPr marL="1057248" indent="0">
              <a:buNone/>
              <a:defRPr>
                <a:solidFill>
                  <a:schemeClr val="tx1"/>
                </a:solidFill>
              </a:defRPr>
            </a:lvl5pPr>
          </a:lstStyle>
          <a:p>
            <a:pPr lvl="0"/>
            <a:r>
              <a:rPr lang="en-US" dirty="0"/>
              <a:t>Name Titles</a:t>
            </a:r>
            <a:endParaRPr lang="en-GB" dirty="0"/>
          </a:p>
        </p:txBody>
      </p:sp>
      <p:sp>
        <p:nvSpPr>
          <p:cNvPr id="10" name="Content Placeholder 2">
            <a:extLst>
              <a:ext uri="{FF2B5EF4-FFF2-40B4-BE49-F238E27FC236}">
                <a16:creationId xmlns:a16="http://schemas.microsoft.com/office/drawing/2014/main" id="{039A902B-6F15-471D-AC28-9D9A247F7607}"/>
              </a:ext>
            </a:extLst>
          </p:cNvPr>
          <p:cNvSpPr>
            <a:spLocks noGrp="1"/>
          </p:cNvSpPr>
          <p:nvPr>
            <p:ph idx="12" hasCustomPrompt="1"/>
          </p:nvPr>
        </p:nvSpPr>
        <p:spPr>
          <a:xfrm>
            <a:off x="472918" y="3215578"/>
            <a:ext cx="3467965" cy="266351"/>
          </a:xfrm>
        </p:spPr>
        <p:txBody>
          <a:bodyPr/>
          <a:lstStyle>
            <a:lvl1pPr marL="0" indent="0">
              <a:buNone/>
              <a:defRPr sz="1500">
                <a:solidFill>
                  <a:schemeClr val="tx1"/>
                </a:solidFill>
                <a:latin typeface="Poppins Light" panose="02000000000000000000" pitchFamily="2" charset="0"/>
                <a:cs typeface="Poppins Light" panose="02000000000000000000" pitchFamily="2" charset="0"/>
              </a:defRPr>
            </a:lvl1pPr>
            <a:lvl2pPr marL="246057" indent="0">
              <a:buNone/>
              <a:defRPr>
                <a:solidFill>
                  <a:schemeClr val="tx1"/>
                </a:solidFill>
              </a:defRPr>
            </a:lvl2pPr>
            <a:lvl3pPr marL="517512" indent="0">
              <a:buNone/>
              <a:defRPr>
                <a:solidFill>
                  <a:schemeClr val="tx1"/>
                </a:solidFill>
              </a:defRPr>
            </a:lvl3pPr>
            <a:lvl4pPr marL="763569" indent="0">
              <a:buNone/>
              <a:defRPr>
                <a:solidFill>
                  <a:schemeClr val="tx1"/>
                </a:solidFill>
              </a:defRPr>
            </a:lvl4pPr>
            <a:lvl5pPr marL="1057248" indent="0">
              <a:buNone/>
              <a:defRPr>
                <a:solidFill>
                  <a:schemeClr val="tx1"/>
                </a:solidFill>
              </a:defRPr>
            </a:lvl5pPr>
          </a:lstStyle>
          <a:p>
            <a:pPr lvl="0"/>
            <a:r>
              <a:rPr lang="en-US" dirty="0"/>
              <a:t>Position</a:t>
            </a:r>
            <a:endParaRPr lang="en-GB" dirty="0"/>
          </a:p>
        </p:txBody>
      </p:sp>
      <p:sp>
        <p:nvSpPr>
          <p:cNvPr id="13" name="Content Placeholder 2">
            <a:extLst>
              <a:ext uri="{FF2B5EF4-FFF2-40B4-BE49-F238E27FC236}">
                <a16:creationId xmlns:a16="http://schemas.microsoft.com/office/drawing/2014/main" id="{293907FB-CEAC-4CCB-871B-332DB1373F35}"/>
              </a:ext>
            </a:extLst>
          </p:cNvPr>
          <p:cNvSpPr>
            <a:spLocks noGrp="1"/>
          </p:cNvSpPr>
          <p:nvPr>
            <p:ph idx="13" hasCustomPrompt="1"/>
          </p:nvPr>
        </p:nvSpPr>
        <p:spPr>
          <a:xfrm>
            <a:off x="687605" y="3505807"/>
            <a:ext cx="3253279" cy="266351"/>
          </a:xfrm>
        </p:spPr>
        <p:txBody>
          <a:bodyPr/>
          <a:lstStyle>
            <a:lvl1pPr marL="0" indent="0">
              <a:buNone/>
              <a:defRPr lang="en-GB" sz="1500" kern="1200" dirty="0">
                <a:solidFill>
                  <a:schemeClr val="tx1"/>
                </a:solidFill>
                <a:latin typeface="Poppins Light" panose="02000000000000000000" pitchFamily="2" charset="0"/>
                <a:ea typeface="+mn-ea"/>
                <a:cs typeface="Poppins Light" panose="02000000000000000000" pitchFamily="2" charset="0"/>
              </a:defRPr>
            </a:lvl1pPr>
            <a:lvl2pPr marL="246057" indent="0">
              <a:buNone/>
              <a:defRPr>
                <a:solidFill>
                  <a:schemeClr val="tx1"/>
                </a:solidFill>
              </a:defRPr>
            </a:lvl2pPr>
            <a:lvl3pPr marL="517512" indent="0">
              <a:buNone/>
              <a:defRPr>
                <a:solidFill>
                  <a:schemeClr val="tx1"/>
                </a:solidFill>
              </a:defRPr>
            </a:lvl3pPr>
            <a:lvl4pPr marL="763569" indent="0">
              <a:buNone/>
              <a:defRPr>
                <a:solidFill>
                  <a:schemeClr val="tx1"/>
                </a:solidFill>
              </a:defRPr>
            </a:lvl4pPr>
            <a:lvl5pPr marL="1057248" indent="0">
              <a:buNone/>
              <a:defRPr>
                <a:solidFill>
                  <a:schemeClr val="tx1"/>
                </a:solidFill>
              </a:defRPr>
            </a:lvl5pPr>
          </a:lstStyle>
          <a:p>
            <a:pPr lvl="0"/>
            <a:r>
              <a:rPr lang="en-US" dirty="0"/>
              <a:t>first.surname@zemo.org.uk</a:t>
            </a:r>
            <a:endParaRPr lang="en-GB" dirty="0"/>
          </a:p>
        </p:txBody>
      </p:sp>
      <p:sp>
        <p:nvSpPr>
          <p:cNvPr id="14" name="Content Placeholder 2">
            <a:extLst>
              <a:ext uri="{FF2B5EF4-FFF2-40B4-BE49-F238E27FC236}">
                <a16:creationId xmlns:a16="http://schemas.microsoft.com/office/drawing/2014/main" id="{75372A1C-665D-4073-968F-27A9C3EBCFB6}"/>
              </a:ext>
            </a:extLst>
          </p:cNvPr>
          <p:cNvSpPr>
            <a:spLocks noGrp="1"/>
          </p:cNvSpPr>
          <p:nvPr>
            <p:ph idx="14" hasCustomPrompt="1"/>
          </p:nvPr>
        </p:nvSpPr>
        <p:spPr>
          <a:xfrm>
            <a:off x="687605" y="3786917"/>
            <a:ext cx="2992452" cy="266351"/>
          </a:xfrm>
        </p:spPr>
        <p:txBody>
          <a:bodyPr/>
          <a:lstStyle>
            <a:lvl1pPr marL="0" indent="0">
              <a:buNone/>
              <a:defRPr sz="1500">
                <a:solidFill>
                  <a:schemeClr val="tx1"/>
                </a:solidFill>
                <a:latin typeface="Poppins Light" panose="02000000000000000000" pitchFamily="2" charset="0"/>
                <a:cs typeface="Poppins Light" panose="02000000000000000000" pitchFamily="2" charset="0"/>
              </a:defRPr>
            </a:lvl1pPr>
            <a:lvl2pPr marL="246057" indent="0">
              <a:buNone/>
              <a:defRPr>
                <a:solidFill>
                  <a:schemeClr val="tx1"/>
                </a:solidFill>
              </a:defRPr>
            </a:lvl2pPr>
            <a:lvl3pPr marL="517512" indent="0">
              <a:buNone/>
              <a:defRPr>
                <a:solidFill>
                  <a:schemeClr val="tx1"/>
                </a:solidFill>
              </a:defRPr>
            </a:lvl3pPr>
            <a:lvl4pPr marL="763569" indent="0">
              <a:buNone/>
              <a:defRPr>
                <a:solidFill>
                  <a:schemeClr val="tx1"/>
                </a:solidFill>
              </a:defRPr>
            </a:lvl4pPr>
            <a:lvl5pPr marL="1057248" indent="0">
              <a:buNone/>
              <a:defRPr>
                <a:solidFill>
                  <a:schemeClr val="tx1"/>
                </a:solidFill>
              </a:defRPr>
            </a:lvl5pPr>
          </a:lstStyle>
          <a:p>
            <a:pPr lvl="0"/>
            <a:r>
              <a:rPr lang="en-US" dirty="0"/>
              <a:t>020 7304 XXXX</a:t>
            </a:r>
            <a:endParaRPr lang="en-GB" dirty="0"/>
          </a:p>
        </p:txBody>
      </p:sp>
      <p:sp>
        <p:nvSpPr>
          <p:cNvPr id="6" name="TextBox 5">
            <a:extLst>
              <a:ext uri="{FF2B5EF4-FFF2-40B4-BE49-F238E27FC236}">
                <a16:creationId xmlns:a16="http://schemas.microsoft.com/office/drawing/2014/main" id="{FDD0D16A-39D6-4862-A374-32FC3DB7D4A1}"/>
              </a:ext>
            </a:extLst>
          </p:cNvPr>
          <p:cNvSpPr txBox="1"/>
          <p:nvPr userDrawn="1"/>
        </p:nvSpPr>
        <p:spPr>
          <a:xfrm>
            <a:off x="368516" y="3508673"/>
            <a:ext cx="383557" cy="323165"/>
          </a:xfrm>
          <a:prstGeom prst="rect">
            <a:avLst/>
          </a:prstGeom>
          <a:noFill/>
        </p:spPr>
        <p:txBody>
          <a:bodyPr wrap="square" rtlCol="0">
            <a:spAutoFit/>
          </a:bodyPr>
          <a:lstStyle/>
          <a:p>
            <a:r>
              <a:rPr lang="en-GB" sz="1500" kern="1200" dirty="0">
                <a:solidFill>
                  <a:schemeClr val="tx1"/>
                </a:solidFill>
                <a:latin typeface="Poppins Medium" panose="02000000000000000000" pitchFamily="2" charset="0"/>
                <a:ea typeface="+mn-ea"/>
                <a:cs typeface="Poppins Medium" panose="02000000000000000000" pitchFamily="2" charset="0"/>
              </a:rPr>
              <a:t>E:</a:t>
            </a:r>
          </a:p>
        </p:txBody>
      </p:sp>
      <p:sp>
        <p:nvSpPr>
          <p:cNvPr id="15" name="TextBox 14">
            <a:extLst>
              <a:ext uri="{FF2B5EF4-FFF2-40B4-BE49-F238E27FC236}">
                <a16:creationId xmlns:a16="http://schemas.microsoft.com/office/drawing/2014/main" id="{4F558BDA-16EE-4AA2-AE5F-36D1341D877E}"/>
              </a:ext>
            </a:extLst>
          </p:cNvPr>
          <p:cNvSpPr txBox="1"/>
          <p:nvPr userDrawn="1"/>
        </p:nvSpPr>
        <p:spPr>
          <a:xfrm>
            <a:off x="371456" y="3764533"/>
            <a:ext cx="383557" cy="323165"/>
          </a:xfrm>
          <a:prstGeom prst="rect">
            <a:avLst/>
          </a:prstGeom>
          <a:noFill/>
        </p:spPr>
        <p:txBody>
          <a:bodyPr wrap="square" rtlCol="0">
            <a:spAutoFit/>
          </a:bodyPr>
          <a:lstStyle/>
          <a:p>
            <a:r>
              <a:rPr lang="en-GB" sz="1500" kern="1200" dirty="0">
                <a:solidFill>
                  <a:schemeClr val="tx1"/>
                </a:solidFill>
                <a:latin typeface="Poppins Medium" panose="02000000000000000000" pitchFamily="2" charset="0"/>
                <a:ea typeface="+mn-ea"/>
                <a:cs typeface="Poppins Medium" panose="02000000000000000000" pitchFamily="2" charset="0"/>
              </a:rPr>
              <a:t>T:</a:t>
            </a:r>
          </a:p>
        </p:txBody>
      </p:sp>
      <p:sp>
        <p:nvSpPr>
          <p:cNvPr id="16" name="Content Placeholder 2">
            <a:extLst>
              <a:ext uri="{FF2B5EF4-FFF2-40B4-BE49-F238E27FC236}">
                <a16:creationId xmlns:a16="http://schemas.microsoft.com/office/drawing/2014/main" id="{D29B91F5-A2AF-4954-8C6C-D7AA65699259}"/>
              </a:ext>
            </a:extLst>
          </p:cNvPr>
          <p:cNvSpPr>
            <a:spLocks noGrp="1"/>
          </p:cNvSpPr>
          <p:nvPr>
            <p:ph idx="15" hasCustomPrompt="1"/>
          </p:nvPr>
        </p:nvSpPr>
        <p:spPr>
          <a:xfrm>
            <a:off x="472918" y="4561821"/>
            <a:ext cx="3467965" cy="266351"/>
          </a:xfrm>
        </p:spPr>
        <p:txBody>
          <a:bodyPr/>
          <a:lstStyle>
            <a:lvl1pPr marL="0" indent="0">
              <a:buNone/>
              <a:defRPr sz="1500">
                <a:solidFill>
                  <a:schemeClr val="tx1"/>
                </a:solidFill>
              </a:defRPr>
            </a:lvl1pPr>
            <a:lvl2pPr marL="246057" indent="0">
              <a:buNone/>
              <a:defRPr>
                <a:solidFill>
                  <a:schemeClr val="tx1"/>
                </a:solidFill>
              </a:defRPr>
            </a:lvl2pPr>
            <a:lvl3pPr marL="517512" indent="0">
              <a:buNone/>
              <a:defRPr>
                <a:solidFill>
                  <a:schemeClr val="tx1"/>
                </a:solidFill>
              </a:defRPr>
            </a:lvl3pPr>
            <a:lvl4pPr marL="763569" indent="0">
              <a:buNone/>
              <a:defRPr>
                <a:solidFill>
                  <a:schemeClr val="tx1"/>
                </a:solidFill>
              </a:defRPr>
            </a:lvl4pPr>
            <a:lvl5pPr marL="1057248" indent="0">
              <a:buNone/>
              <a:defRPr>
                <a:solidFill>
                  <a:schemeClr val="tx1"/>
                </a:solidFill>
              </a:defRPr>
            </a:lvl5pPr>
          </a:lstStyle>
          <a:p>
            <a:pPr lvl="0"/>
            <a:r>
              <a:rPr lang="en-US" dirty="0"/>
              <a:t>Name Titles</a:t>
            </a:r>
            <a:endParaRPr lang="en-GB" dirty="0"/>
          </a:p>
        </p:txBody>
      </p:sp>
      <p:sp>
        <p:nvSpPr>
          <p:cNvPr id="17" name="Content Placeholder 2">
            <a:extLst>
              <a:ext uri="{FF2B5EF4-FFF2-40B4-BE49-F238E27FC236}">
                <a16:creationId xmlns:a16="http://schemas.microsoft.com/office/drawing/2014/main" id="{B5D1F643-1457-4B44-8F5C-776486B075A4}"/>
              </a:ext>
            </a:extLst>
          </p:cNvPr>
          <p:cNvSpPr>
            <a:spLocks noGrp="1"/>
          </p:cNvSpPr>
          <p:nvPr>
            <p:ph idx="16" hasCustomPrompt="1"/>
          </p:nvPr>
        </p:nvSpPr>
        <p:spPr>
          <a:xfrm>
            <a:off x="472918" y="4845811"/>
            <a:ext cx="3467965" cy="266351"/>
          </a:xfrm>
        </p:spPr>
        <p:txBody>
          <a:bodyPr/>
          <a:lstStyle>
            <a:lvl1pPr marL="0" indent="0">
              <a:buNone/>
              <a:defRPr sz="1500">
                <a:solidFill>
                  <a:schemeClr val="tx1"/>
                </a:solidFill>
                <a:latin typeface="Poppins Light" panose="02000000000000000000" pitchFamily="2" charset="0"/>
                <a:cs typeface="Poppins Light" panose="02000000000000000000" pitchFamily="2" charset="0"/>
              </a:defRPr>
            </a:lvl1pPr>
            <a:lvl2pPr marL="246057" indent="0">
              <a:buNone/>
              <a:defRPr>
                <a:solidFill>
                  <a:schemeClr val="tx1"/>
                </a:solidFill>
              </a:defRPr>
            </a:lvl2pPr>
            <a:lvl3pPr marL="517512" indent="0">
              <a:buNone/>
              <a:defRPr>
                <a:solidFill>
                  <a:schemeClr val="tx1"/>
                </a:solidFill>
              </a:defRPr>
            </a:lvl3pPr>
            <a:lvl4pPr marL="763569" indent="0">
              <a:buNone/>
              <a:defRPr>
                <a:solidFill>
                  <a:schemeClr val="tx1"/>
                </a:solidFill>
              </a:defRPr>
            </a:lvl4pPr>
            <a:lvl5pPr marL="1057248" indent="0">
              <a:buNone/>
              <a:defRPr>
                <a:solidFill>
                  <a:schemeClr val="tx1"/>
                </a:solidFill>
              </a:defRPr>
            </a:lvl5pPr>
          </a:lstStyle>
          <a:p>
            <a:pPr lvl="0"/>
            <a:r>
              <a:rPr lang="en-US" dirty="0"/>
              <a:t>Position</a:t>
            </a:r>
            <a:endParaRPr lang="en-GB" dirty="0"/>
          </a:p>
        </p:txBody>
      </p:sp>
      <p:sp>
        <p:nvSpPr>
          <p:cNvPr id="18" name="Content Placeholder 2">
            <a:extLst>
              <a:ext uri="{FF2B5EF4-FFF2-40B4-BE49-F238E27FC236}">
                <a16:creationId xmlns:a16="http://schemas.microsoft.com/office/drawing/2014/main" id="{3C0CCBD9-43D1-4A68-B9E7-025D077D8566}"/>
              </a:ext>
            </a:extLst>
          </p:cNvPr>
          <p:cNvSpPr>
            <a:spLocks noGrp="1"/>
          </p:cNvSpPr>
          <p:nvPr>
            <p:ph idx="17" hasCustomPrompt="1"/>
          </p:nvPr>
        </p:nvSpPr>
        <p:spPr>
          <a:xfrm>
            <a:off x="687605" y="5124794"/>
            <a:ext cx="3253279" cy="266351"/>
          </a:xfrm>
        </p:spPr>
        <p:txBody>
          <a:bodyPr/>
          <a:lstStyle>
            <a:lvl1pPr marL="0" indent="0">
              <a:buNone/>
              <a:defRPr sz="1500">
                <a:solidFill>
                  <a:schemeClr val="tx1"/>
                </a:solidFill>
                <a:latin typeface="Poppins Light" panose="02000000000000000000" pitchFamily="2" charset="0"/>
                <a:cs typeface="Poppins Light" panose="02000000000000000000" pitchFamily="2" charset="0"/>
              </a:defRPr>
            </a:lvl1pPr>
            <a:lvl2pPr marL="246057" indent="0">
              <a:buNone/>
              <a:defRPr>
                <a:solidFill>
                  <a:schemeClr val="tx1"/>
                </a:solidFill>
              </a:defRPr>
            </a:lvl2pPr>
            <a:lvl3pPr marL="517512" indent="0">
              <a:buNone/>
              <a:defRPr>
                <a:solidFill>
                  <a:schemeClr val="tx1"/>
                </a:solidFill>
              </a:defRPr>
            </a:lvl3pPr>
            <a:lvl4pPr marL="763569" indent="0">
              <a:buNone/>
              <a:defRPr>
                <a:solidFill>
                  <a:schemeClr val="tx1"/>
                </a:solidFill>
              </a:defRPr>
            </a:lvl4pPr>
            <a:lvl5pPr marL="1057248" indent="0">
              <a:buNone/>
              <a:defRPr>
                <a:solidFill>
                  <a:schemeClr val="tx1"/>
                </a:solidFill>
              </a:defRPr>
            </a:lvl5pPr>
          </a:lstStyle>
          <a:p>
            <a:pPr lvl="0"/>
            <a:r>
              <a:rPr lang="en-US" dirty="0"/>
              <a:t>first.surname@zemo.org.uk</a:t>
            </a:r>
            <a:endParaRPr lang="en-GB" dirty="0"/>
          </a:p>
        </p:txBody>
      </p:sp>
      <p:sp>
        <p:nvSpPr>
          <p:cNvPr id="20" name="TextBox 19">
            <a:extLst>
              <a:ext uri="{FF2B5EF4-FFF2-40B4-BE49-F238E27FC236}">
                <a16:creationId xmlns:a16="http://schemas.microsoft.com/office/drawing/2014/main" id="{DCB3C8EA-C453-4329-8F60-D2CBFEE99243}"/>
              </a:ext>
            </a:extLst>
          </p:cNvPr>
          <p:cNvSpPr txBox="1"/>
          <p:nvPr userDrawn="1"/>
        </p:nvSpPr>
        <p:spPr>
          <a:xfrm>
            <a:off x="368516" y="5133921"/>
            <a:ext cx="383557" cy="323165"/>
          </a:xfrm>
          <a:prstGeom prst="rect">
            <a:avLst/>
          </a:prstGeom>
          <a:noFill/>
        </p:spPr>
        <p:txBody>
          <a:bodyPr wrap="square" rtlCol="0">
            <a:spAutoFit/>
          </a:bodyPr>
          <a:lstStyle/>
          <a:p>
            <a:r>
              <a:rPr lang="en-GB" sz="1500" kern="1200" dirty="0">
                <a:solidFill>
                  <a:schemeClr val="tx1"/>
                </a:solidFill>
                <a:latin typeface="Poppins Medium" panose="02000000000000000000" pitchFamily="2" charset="0"/>
                <a:ea typeface="+mn-ea"/>
                <a:cs typeface="Poppins Medium" panose="02000000000000000000" pitchFamily="2" charset="0"/>
              </a:rPr>
              <a:t>E:</a:t>
            </a:r>
          </a:p>
        </p:txBody>
      </p:sp>
      <p:sp>
        <p:nvSpPr>
          <p:cNvPr id="21" name="TextBox 20">
            <a:extLst>
              <a:ext uri="{FF2B5EF4-FFF2-40B4-BE49-F238E27FC236}">
                <a16:creationId xmlns:a16="http://schemas.microsoft.com/office/drawing/2014/main" id="{28C39E39-CE6A-4EB0-A3AD-04195024B525}"/>
              </a:ext>
            </a:extLst>
          </p:cNvPr>
          <p:cNvSpPr txBox="1"/>
          <p:nvPr userDrawn="1"/>
        </p:nvSpPr>
        <p:spPr>
          <a:xfrm>
            <a:off x="371456" y="5399613"/>
            <a:ext cx="383557" cy="323165"/>
          </a:xfrm>
          <a:prstGeom prst="rect">
            <a:avLst/>
          </a:prstGeom>
          <a:noFill/>
        </p:spPr>
        <p:txBody>
          <a:bodyPr wrap="square" rtlCol="0">
            <a:spAutoFit/>
          </a:bodyPr>
          <a:lstStyle/>
          <a:p>
            <a:r>
              <a:rPr lang="en-GB" sz="1500" kern="1200" dirty="0">
                <a:solidFill>
                  <a:schemeClr val="tx1"/>
                </a:solidFill>
                <a:latin typeface="Poppins Medium" panose="02000000000000000000" pitchFamily="2" charset="0"/>
                <a:ea typeface="+mn-ea"/>
                <a:cs typeface="Poppins Medium" panose="02000000000000000000" pitchFamily="2" charset="0"/>
              </a:rPr>
              <a:t>T:</a:t>
            </a:r>
          </a:p>
        </p:txBody>
      </p:sp>
      <p:sp>
        <p:nvSpPr>
          <p:cNvPr id="22" name="TextBox 21">
            <a:extLst>
              <a:ext uri="{FF2B5EF4-FFF2-40B4-BE49-F238E27FC236}">
                <a16:creationId xmlns:a16="http://schemas.microsoft.com/office/drawing/2014/main" id="{036BC14D-57BC-4927-9399-1E5ED5C057AE}"/>
              </a:ext>
            </a:extLst>
          </p:cNvPr>
          <p:cNvSpPr txBox="1"/>
          <p:nvPr userDrawn="1"/>
        </p:nvSpPr>
        <p:spPr>
          <a:xfrm>
            <a:off x="368517" y="4198954"/>
            <a:ext cx="5476025" cy="338554"/>
          </a:xfrm>
          <a:prstGeom prst="rect">
            <a:avLst/>
          </a:prstGeom>
          <a:noFill/>
        </p:spPr>
        <p:txBody>
          <a:bodyPr wrap="square" rtlCol="0">
            <a:spAutoFit/>
          </a:bodyPr>
          <a:lstStyle/>
          <a:p>
            <a:r>
              <a:rPr lang="en-GB" sz="1600" kern="1200" dirty="0">
                <a:solidFill>
                  <a:schemeClr val="tx1"/>
                </a:solidFill>
                <a:latin typeface="Poppins Medium" panose="02000000000000000000" pitchFamily="2" charset="0"/>
                <a:ea typeface="+mn-ea"/>
                <a:cs typeface="Poppins Medium" panose="02000000000000000000" pitchFamily="2" charset="0"/>
              </a:rPr>
              <a:t>Interested in joining the Partnership?</a:t>
            </a:r>
          </a:p>
        </p:txBody>
      </p:sp>
      <p:sp>
        <p:nvSpPr>
          <p:cNvPr id="24" name="TextBox 23">
            <a:extLst>
              <a:ext uri="{FF2B5EF4-FFF2-40B4-BE49-F238E27FC236}">
                <a16:creationId xmlns:a16="http://schemas.microsoft.com/office/drawing/2014/main" id="{74178BBD-95D4-49F6-8C10-1287AF7E79EC}"/>
              </a:ext>
            </a:extLst>
          </p:cNvPr>
          <p:cNvSpPr txBox="1"/>
          <p:nvPr userDrawn="1"/>
        </p:nvSpPr>
        <p:spPr>
          <a:xfrm>
            <a:off x="373711" y="6051221"/>
            <a:ext cx="5211749" cy="496161"/>
          </a:xfrm>
          <a:prstGeom prst="rect">
            <a:avLst/>
          </a:prstGeom>
          <a:noFill/>
        </p:spPr>
        <p:txBody>
          <a:bodyPr wrap="square" rtlCol="0">
            <a:spAutoFit/>
          </a:bodyPr>
          <a:lstStyle/>
          <a:p>
            <a:pPr marL="0" marR="0" lvl="0" indent="0" algn="l" defTabSz="914377" rtl="0" eaLnBrk="1" fontAlgn="auto" latinLnBrk="0" hangingPunct="1">
              <a:lnSpc>
                <a:spcPct val="114000"/>
              </a:lnSpc>
              <a:spcBef>
                <a:spcPts val="0"/>
              </a:spcBef>
              <a:spcAft>
                <a:spcPts val="0"/>
              </a:spcAft>
              <a:buClrTx/>
              <a:buSzTx/>
              <a:buFontTx/>
              <a:buNone/>
              <a:tabLst/>
              <a:defRPr/>
            </a:pPr>
            <a:r>
              <a:rPr lang="en-GB" sz="800" dirty="0" err="1">
                <a:solidFill>
                  <a:srgbClr val="000000"/>
                </a:solidFill>
                <a:latin typeface="Poppins SemiBold" panose="02000000000000000000" pitchFamily="2" charset="0"/>
                <a:cs typeface="Poppins SemiBold" panose="02000000000000000000" pitchFamily="2" charset="0"/>
              </a:rPr>
              <a:t>Zemo</a:t>
            </a:r>
            <a:r>
              <a:rPr lang="en-GB" sz="800" dirty="0">
                <a:solidFill>
                  <a:srgbClr val="000000"/>
                </a:solidFill>
                <a:latin typeface="Poppins SemiBold" panose="02000000000000000000" pitchFamily="2" charset="0"/>
                <a:cs typeface="Poppins SemiBold" panose="02000000000000000000" pitchFamily="2" charset="0"/>
              </a:rPr>
              <a:t> Partnership</a:t>
            </a:r>
            <a:r>
              <a:rPr lang="en-GB" sz="800" dirty="0">
                <a:solidFill>
                  <a:srgbClr val="000000"/>
                </a:solidFill>
                <a:latin typeface="Poppins" panose="02000000000000000000" pitchFamily="2" charset="0"/>
                <a:cs typeface="Poppins" panose="02000000000000000000" pitchFamily="2" charset="0"/>
              </a:rPr>
              <a:t>, 3 Birdcage Walk, London SW1H 9JJ</a:t>
            </a:r>
            <a:br>
              <a:rPr lang="en-GB" sz="800" dirty="0">
                <a:solidFill>
                  <a:srgbClr val="000000"/>
                </a:solidFill>
                <a:latin typeface="Poppins" panose="02000000000000000000" pitchFamily="2" charset="0"/>
                <a:cs typeface="Poppins" panose="02000000000000000000" pitchFamily="2" charset="0"/>
              </a:rPr>
            </a:br>
            <a:r>
              <a:rPr lang="en-GB" sz="800" dirty="0">
                <a:solidFill>
                  <a:srgbClr val="000000"/>
                </a:solidFill>
                <a:latin typeface="Poppins" panose="02000000000000000000" pitchFamily="2" charset="0"/>
                <a:cs typeface="Poppins" panose="02000000000000000000" pitchFamily="2" charset="0"/>
              </a:rPr>
              <a:t>T: +44 (0)20 7304 6880  |  E</a:t>
            </a:r>
            <a:r>
              <a:rPr lang="en-GB" sz="800" kern="1200" dirty="0">
                <a:solidFill>
                  <a:srgbClr val="000000"/>
                </a:solidFill>
                <a:latin typeface="Poppins" panose="02000000000000000000" pitchFamily="2" charset="0"/>
                <a:ea typeface="+mn-ea"/>
                <a:cs typeface="Poppins" panose="02000000000000000000" pitchFamily="2" charset="0"/>
              </a:rPr>
              <a:t>: </a:t>
            </a:r>
            <a:r>
              <a:rPr lang="en-GB" sz="800" kern="1200" dirty="0">
                <a:solidFill>
                  <a:srgbClr val="000000"/>
                </a:solidFill>
                <a:latin typeface="Poppins" panose="02000000000000000000" pitchFamily="2" charset="0"/>
                <a:ea typeface="+mn-ea"/>
                <a:cs typeface="Poppins" panose="02000000000000000000" pitchFamily="2" charset="0"/>
                <a:hlinkClick r:id="rId3">
                  <a:extLst>
                    <a:ext uri="{A12FA001-AC4F-418D-AE19-62706E023703}">
                      <ahyp:hlinkClr xmlns:ahyp="http://schemas.microsoft.com/office/drawing/2018/hyperlinkcolor" val="tx"/>
                    </a:ext>
                  </a:extLst>
                </a:hlinkClick>
              </a:rPr>
              <a:t>hello@zemo.org.uk</a:t>
            </a:r>
            <a:r>
              <a:rPr lang="en-GB" sz="800" kern="1200" dirty="0">
                <a:solidFill>
                  <a:srgbClr val="000000"/>
                </a:solidFill>
                <a:latin typeface="Poppins" panose="02000000000000000000" pitchFamily="2" charset="0"/>
                <a:ea typeface="+mn-ea"/>
                <a:cs typeface="Poppins" panose="02000000000000000000" pitchFamily="2" charset="0"/>
              </a:rPr>
              <a:t>         @Zemo_org  |  </a:t>
            </a:r>
            <a:r>
              <a:rPr lang="en-GB" sz="800" kern="1200" dirty="0">
                <a:solidFill>
                  <a:srgbClr val="000000"/>
                </a:solidFill>
                <a:latin typeface="Poppins" panose="02000000000000000000" pitchFamily="2" charset="0"/>
                <a:ea typeface="+mn-ea"/>
                <a:cs typeface="Poppins" panose="02000000000000000000" pitchFamily="2" charset="0"/>
                <a:hlinkClick r:id="rId4">
                  <a:extLst>
                    <a:ext uri="{A12FA001-AC4F-418D-AE19-62706E023703}">
                      <ahyp:hlinkClr xmlns:ahyp="http://schemas.microsoft.com/office/drawing/2018/hyperlinkcolor" val="tx"/>
                    </a:ext>
                  </a:extLst>
                </a:hlinkClick>
              </a:rPr>
              <a:t>www.zemo.org.uk</a:t>
            </a:r>
            <a:r>
              <a:rPr lang="en-GB" sz="800" kern="1200" dirty="0">
                <a:solidFill>
                  <a:srgbClr val="000000"/>
                </a:solidFill>
                <a:latin typeface="Poppins" panose="02000000000000000000" pitchFamily="2" charset="0"/>
                <a:ea typeface="+mn-ea"/>
                <a:cs typeface="Poppins" panose="02000000000000000000" pitchFamily="2" charset="0"/>
              </a:rPr>
              <a:t> </a:t>
            </a:r>
          </a:p>
          <a:p>
            <a:endParaRPr lang="en-GB" sz="800" dirty="0">
              <a:solidFill>
                <a:srgbClr val="000000"/>
              </a:solidFill>
              <a:latin typeface="Poppins" panose="02000000000000000000" pitchFamily="2" charset="0"/>
              <a:cs typeface="Poppins" panose="02000000000000000000" pitchFamily="2" charset="0"/>
            </a:endParaRPr>
          </a:p>
        </p:txBody>
      </p:sp>
      <p:sp>
        <p:nvSpPr>
          <p:cNvPr id="29" name="TextBox 28">
            <a:extLst>
              <a:ext uri="{FF2B5EF4-FFF2-40B4-BE49-F238E27FC236}">
                <a16:creationId xmlns:a16="http://schemas.microsoft.com/office/drawing/2014/main" id="{28D6666C-0773-41EF-9C06-920F802C092A}"/>
              </a:ext>
            </a:extLst>
          </p:cNvPr>
          <p:cNvSpPr txBox="1"/>
          <p:nvPr userDrawn="1"/>
        </p:nvSpPr>
        <p:spPr>
          <a:xfrm>
            <a:off x="373505" y="2566534"/>
            <a:ext cx="5476025" cy="338554"/>
          </a:xfrm>
          <a:prstGeom prst="rect">
            <a:avLst/>
          </a:prstGeom>
          <a:noFill/>
        </p:spPr>
        <p:txBody>
          <a:bodyPr wrap="square" rtlCol="0">
            <a:spAutoFit/>
          </a:bodyPr>
          <a:lstStyle/>
          <a:p>
            <a:r>
              <a:rPr lang="en-GB" sz="1600" kern="1200" dirty="0">
                <a:solidFill>
                  <a:schemeClr val="tx1"/>
                </a:solidFill>
                <a:latin typeface="Poppins Medium" panose="02000000000000000000" pitchFamily="2" charset="0"/>
                <a:ea typeface="+mn-ea"/>
                <a:cs typeface="Poppins Medium" panose="02000000000000000000" pitchFamily="2" charset="0"/>
              </a:rPr>
              <a:t>Any questions? Please get in touch</a:t>
            </a:r>
          </a:p>
        </p:txBody>
      </p:sp>
      <p:sp>
        <p:nvSpPr>
          <p:cNvPr id="27" name="TextBox 26">
            <a:extLst>
              <a:ext uri="{FF2B5EF4-FFF2-40B4-BE49-F238E27FC236}">
                <a16:creationId xmlns:a16="http://schemas.microsoft.com/office/drawing/2014/main" id="{5E1EAD94-748A-4668-BE73-4409D62EB073}"/>
              </a:ext>
            </a:extLst>
          </p:cNvPr>
          <p:cNvSpPr txBox="1"/>
          <p:nvPr userDrawn="1"/>
        </p:nvSpPr>
        <p:spPr>
          <a:xfrm>
            <a:off x="373505" y="2210934"/>
            <a:ext cx="5476025" cy="338554"/>
          </a:xfrm>
          <a:prstGeom prst="rect">
            <a:avLst/>
          </a:prstGeom>
          <a:noFill/>
        </p:spPr>
        <p:txBody>
          <a:bodyPr wrap="square" rtlCol="0">
            <a:spAutoFit/>
          </a:bodyPr>
          <a:lstStyle/>
          <a:p>
            <a:r>
              <a:rPr lang="en-GB" sz="1600" kern="1200" dirty="0">
                <a:solidFill>
                  <a:schemeClr val="tx1"/>
                </a:solidFill>
                <a:latin typeface="Poppins Medium" panose="02000000000000000000" pitchFamily="2" charset="0"/>
                <a:ea typeface="+mn-ea"/>
                <a:cs typeface="Poppins Medium" panose="02000000000000000000" pitchFamily="2" charset="0"/>
              </a:rPr>
              <a:t>Thank you</a:t>
            </a:r>
          </a:p>
        </p:txBody>
      </p:sp>
      <p:pic>
        <p:nvPicPr>
          <p:cNvPr id="8" name="Picture 7">
            <a:extLst>
              <a:ext uri="{FF2B5EF4-FFF2-40B4-BE49-F238E27FC236}">
                <a16:creationId xmlns:a16="http://schemas.microsoft.com/office/drawing/2014/main" id="{0E774698-5CBF-4874-9D0E-FEB09DAE6969}"/>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428625" y="440214"/>
            <a:ext cx="4003675" cy="1290303"/>
          </a:xfrm>
          <a:prstGeom prst="rect">
            <a:avLst/>
          </a:prstGeom>
        </p:spPr>
      </p:pic>
      <p:sp>
        <p:nvSpPr>
          <p:cNvPr id="31" name="Rectangle 30">
            <a:extLst>
              <a:ext uri="{FF2B5EF4-FFF2-40B4-BE49-F238E27FC236}">
                <a16:creationId xmlns:a16="http://schemas.microsoft.com/office/drawing/2014/main" id="{85CB74FA-06E3-494B-A0BD-2282BBA99ED0}"/>
              </a:ext>
            </a:extLst>
          </p:cNvPr>
          <p:cNvSpPr/>
          <p:nvPr userDrawn="1"/>
        </p:nvSpPr>
        <p:spPr>
          <a:xfrm>
            <a:off x="8953501" y="203200"/>
            <a:ext cx="2933700" cy="88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3" name="Slide Number Placeholder 5">
            <a:extLst>
              <a:ext uri="{FF2B5EF4-FFF2-40B4-BE49-F238E27FC236}">
                <a16:creationId xmlns:a16="http://schemas.microsoft.com/office/drawing/2014/main" id="{A7585837-29D5-467B-95E7-6AAC44A72E5C}"/>
              </a:ext>
            </a:extLst>
          </p:cNvPr>
          <p:cNvSpPr txBox="1">
            <a:spLocks/>
          </p:cNvSpPr>
          <p:nvPr userDrawn="1"/>
        </p:nvSpPr>
        <p:spPr>
          <a:xfrm>
            <a:off x="11387581"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spc="-23"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pic>
        <p:nvPicPr>
          <p:cNvPr id="4" name="Picture 3">
            <a:extLst>
              <a:ext uri="{FF2B5EF4-FFF2-40B4-BE49-F238E27FC236}">
                <a16:creationId xmlns:a16="http://schemas.microsoft.com/office/drawing/2014/main" id="{E9DBA6A8-EE85-4FF5-AE08-F8213354144A}"/>
              </a:ext>
            </a:extLst>
          </p:cNvPr>
          <p:cNvPicPr>
            <a:picLocks noChangeAspect="1"/>
          </p:cNvPicPr>
          <p:nvPr userDrawn="1"/>
        </p:nvPicPr>
        <p:blipFill>
          <a:blip r:embed="rId6" cstate="print">
            <a:biLevel thresh="75000"/>
            <a:extLst>
              <a:ext uri="{28A0092B-C50C-407E-A947-70E740481C1C}">
                <a14:useLocalDpi xmlns:a14="http://schemas.microsoft.com/office/drawing/2010/main"/>
              </a:ext>
            </a:extLst>
          </a:blip>
          <a:stretch>
            <a:fillRect/>
          </a:stretch>
        </p:blipFill>
        <p:spPr>
          <a:xfrm>
            <a:off x="2857435" y="6259791"/>
            <a:ext cx="113972" cy="98683"/>
          </a:xfrm>
          <a:prstGeom prst="rect">
            <a:avLst/>
          </a:prstGeom>
        </p:spPr>
      </p:pic>
      <p:sp>
        <p:nvSpPr>
          <p:cNvPr id="25" name="Content Placeholder 2">
            <a:extLst>
              <a:ext uri="{FF2B5EF4-FFF2-40B4-BE49-F238E27FC236}">
                <a16:creationId xmlns:a16="http://schemas.microsoft.com/office/drawing/2014/main" id="{EC04FB81-37F3-4E84-8139-7F85BF512BBE}"/>
              </a:ext>
            </a:extLst>
          </p:cNvPr>
          <p:cNvSpPr>
            <a:spLocks noGrp="1"/>
          </p:cNvSpPr>
          <p:nvPr>
            <p:ph idx="19" hasCustomPrompt="1"/>
          </p:nvPr>
        </p:nvSpPr>
        <p:spPr>
          <a:xfrm>
            <a:off x="692215" y="5418983"/>
            <a:ext cx="3253277" cy="266351"/>
          </a:xfrm>
        </p:spPr>
        <p:txBody>
          <a:bodyPr/>
          <a:lstStyle>
            <a:lvl1pPr marL="0" indent="0">
              <a:buNone/>
              <a:defRPr sz="1500">
                <a:solidFill>
                  <a:schemeClr val="tx1"/>
                </a:solidFill>
                <a:latin typeface="Poppins Light" panose="02000000000000000000" pitchFamily="2" charset="0"/>
                <a:cs typeface="Poppins Light" panose="02000000000000000000" pitchFamily="2" charset="0"/>
              </a:defRPr>
            </a:lvl1pPr>
            <a:lvl2pPr marL="246057" indent="0">
              <a:buNone/>
              <a:defRPr>
                <a:solidFill>
                  <a:schemeClr val="tx1"/>
                </a:solidFill>
              </a:defRPr>
            </a:lvl2pPr>
            <a:lvl3pPr marL="517512" indent="0">
              <a:buNone/>
              <a:defRPr>
                <a:solidFill>
                  <a:schemeClr val="tx1"/>
                </a:solidFill>
              </a:defRPr>
            </a:lvl3pPr>
            <a:lvl4pPr marL="763569" indent="0">
              <a:buNone/>
              <a:defRPr>
                <a:solidFill>
                  <a:schemeClr val="tx1"/>
                </a:solidFill>
              </a:defRPr>
            </a:lvl4pPr>
            <a:lvl5pPr marL="1057248" indent="0">
              <a:buNone/>
              <a:defRPr>
                <a:solidFill>
                  <a:schemeClr val="tx1"/>
                </a:solidFill>
              </a:defRPr>
            </a:lvl5pPr>
          </a:lstStyle>
          <a:p>
            <a:pPr lvl="0"/>
            <a:r>
              <a:rPr lang="en-US" dirty="0"/>
              <a:t>020 7304 XXXX</a:t>
            </a:r>
            <a:endParaRPr lang="en-GB" dirty="0"/>
          </a:p>
        </p:txBody>
      </p:sp>
    </p:spTree>
    <p:extLst>
      <p:ext uri="{BB962C8B-B14F-4D97-AF65-F5344CB8AC3E}">
        <p14:creationId xmlns:p14="http://schemas.microsoft.com/office/powerpoint/2010/main" val="22708975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Closing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AF85290-9360-4536-BC30-9B5CCB583B5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9831"/>
            <a:ext cx="12192000" cy="6862168"/>
          </a:xfrm>
          <a:prstGeom prst="rect">
            <a:avLst/>
          </a:prstGeom>
        </p:spPr>
      </p:pic>
      <p:sp>
        <p:nvSpPr>
          <p:cNvPr id="24" name="TextBox 23">
            <a:extLst>
              <a:ext uri="{FF2B5EF4-FFF2-40B4-BE49-F238E27FC236}">
                <a16:creationId xmlns:a16="http://schemas.microsoft.com/office/drawing/2014/main" id="{74178BBD-95D4-49F6-8C10-1287AF7E79EC}"/>
              </a:ext>
            </a:extLst>
          </p:cNvPr>
          <p:cNvSpPr txBox="1"/>
          <p:nvPr userDrawn="1"/>
        </p:nvSpPr>
        <p:spPr>
          <a:xfrm>
            <a:off x="373711" y="6051221"/>
            <a:ext cx="5211749" cy="496161"/>
          </a:xfrm>
          <a:prstGeom prst="rect">
            <a:avLst/>
          </a:prstGeom>
          <a:noFill/>
        </p:spPr>
        <p:txBody>
          <a:bodyPr wrap="square" rtlCol="0">
            <a:spAutoFit/>
          </a:bodyPr>
          <a:lstStyle/>
          <a:p>
            <a:pPr marL="0" marR="0" lvl="0" indent="0" algn="l" defTabSz="914377" rtl="0" eaLnBrk="1" fontAlgn="auto" latinLnBrk="0" hangingPunct="1">
              <a:lnSpc>
                <a:spcPct val="114000"/>
              </a:lnSpc>
              <a:spcBef>
                <a:spcPts val="0"/>
              </a:spcBef>
              <a:spcAft>
                <a:spcPts val="0"/>
              </a:spcAft>
              <a:buClrTx/>
              <a:buSzTx/>
              <a:buFontTx/>
              <a:buNone/>
              <a:tabLst/>
              <a:defRPr/>
            </a:pPr>
            <a:r>
              <a:rPr lang="en-GB" sz="800" dirty="0" err="1">
                <a:solidFill>
                  <a:schemeClr val="bg1"/>
                </a:solidFill>
                <a:latin typeface="Poppins SemiBold" panose="02000000000000000000" pitchFamily="2" charset="0"/>
                <a:cs typeface="Poppins SemiBold" panose="02000000000000000000" pitchFamily="2" charset="0"/>
              </a:rPr>
              <a:t>Zemo</a:t>
            </a:r>
            <a:r>
              <a:rPr lang="en-GB" sz="800" dirty="0">
                <a:solidFill>
                  <a:schemeClr val="bg1"/>
                </a:solidFill>
                <a:latin typeface="Poppins SemiBold" panose="02000000000000000000" pitchFamily="2" charset="0"/>
                <a:cs typeface="Poppins SemiBold" panose="02000000000000000000" pitchFamily="2" charset="0"/>
              </a:rPr>
              <a:t> Partnership</a:t>
            </a:r>
            <a:r>
              <a:rPr lang="en-GB" sz="800" dirty="0">
                <a:solidFill>
                  <a:schemeClr val="bg1"/>
                </a:solidFill>
                <a:latin typeface="Poppins" panose="02000000000000000000" pitchFamily="2" charset="0"/>
                <a:cs typeface="Poppins" panose="02000000000000000000" pitchFamily="2" charset="0"/>
              </a:rPr>
              <a:t>, 3 Birdcage Walk, London SW1H 9JJ</a:t>
            </a:r>
            <a:br>
              <a:rPr lang="en-GB" sz="800" dirty="0">
                <a:solidFill>
                  <a:schemeClr val="bg1"/>
                </a:solidFill>
                <a:latin typeface="Poppins" panose="02000000000000000000" pitchFamily="2" charset="0"/>
                <a:cs typeface="Poppins" panose="02000000000000000000" pitchFamily="2" charset="0"/>
              </a:rPr>
            </a:br>
            <a:r>
              <a:rPr lang="en-GB" sz="800" dirty="0">
                <a:solidFill>
                  <a:schemeClr val="bg1"/>
                </a:solidFill>
                <a:latin typeface="Poppins" panose="02000000000000000000" pitchFamily="2" charset="0"/>
                <a:cs typeface="Poppins" panose="02000000000000000000" pitchFamily="2" charset="0"/>
              </a:rPr>
              <a:t>T: +44 (0)20 7304 6880  |  E</a:t>
            </a:r>
            <a:r>
              <a:rPr lang="en-GB" sz="800" kern="1200" dirty="0">
                <a:solidFill>
                  <a:schemeClr val="bg1"/>
                </a:solidFill>
                <a:latin typeface="Poppins" panose="02000000000000000000" pitchFamily="2" charset="0"/>
                <a:ea typeface="+mn-ea"/>
                <a:cs typeface="Poppins" panose="02000000000000000000" pitchFamily="2" charset="0"/>
              </a:rPr>
              <a:t>: </a:t>
            </a:r>
            <a:r>
              <a:rPr lang="en-GB" sz="800" kern="1200" dirty="0">
                <a:solidFill>
                  <a:srgbClr val="FFFFFF"/>
                </a:solidFill>
                <a:latin typeface="Poppins" panose="02000000000000000000" pitchFamily="2" charset="0"/>
                <a:ea typeface="+mn-ea"/>
                <a:cs typeface="Poppins" panose="02000000000000000000" pitchFamily="2" charset="0"/>
                <a:hlinkClick r:id="rId3">
                  <a:extLst>
                    <a:ext uri="{A12FA001-AC4F-418D-AE19-62706E023703}">
                      <ahyp:hlinkClr xmlns:ahyp="http://schemas.microsoft.com/office/drawing/2018/hyperlinkcolor" val="tx"/>
                    </a:ext>
                  </a:extLst>
                </a:hlinkClick>
              </a:rPr>
              <a:t>hello@zemo.org.uk</a:t>
            </a:r>
            <a:r>
              <a:rPr lang="en-GB" sz="800" kern="1200" dirty="0">
                <a:solidFill>
                  <a:srgbClr val="FFFFFF"/>
                </a:solidFill>
                <a:latin typeface="Poppins" panose="02000000000000000000" pitchFamily="2" charset="0"/>
                <a:ea typeface="+mn-ea"/>
                <a:cs typeface="Poppins" panose="02000000000000000000" pitchFamily="2" charset="0"/>
              </a:rPr>
              <a:t>          </a:t>
            </a:r>
            <a:r>
              <a:rPr lang="en-GB" sz="800" kern="1200" dirty="0">
                <a:solidFill>
                  <a:schemeClr val="bg1"/>
                </a:solidFill>
                <a:latin typeface="Poppins" panose="02000000000000000000" pitchFamily="2" charset="0"/>
                <a:ea typeface="+mn-ea"/>
                <a:cs typeface="Poppins" panose="02000000000000000000" pitchFamily="2" charset="0"/>
              </a:rPr>
              <a:t>@Zemo_Org  |  </a:t>
            </a:r>
            <a:r>
              <a:rPr lang="en-GB" sz="800" kern="1200" dirty="0">
                <a:solidFill>
                  <a:srgbClr val="FFFFFF"/>
                </a:solidFill>
                <a:latin typeface="Poppins" panose="02000000000000000000" pitchFamily="2" charset="0"/>
                <a:ea typeface="+mn-ea"/>
                <a:cs typeface="Poppins" panose="02000000000000000000" pitchFamily="2" charset="0"/>
                <a:hlinkClick r:id="rId4">
                  <a:extLst>
                    <a:ext uri="{A12FA001-AC4F-418D-AE19-62706E023703}">
                      <ahyp:hlinkClr xmlns:ahyp="http://schemas.microsoft.com/office/drawing/2018/hyperlinkcolor" val="tx"/>
                    </a:ext>
                  </a:extLst>
                </a:hlinkClick>
              </a:rPr>
              <a:t>www.zemo.org.uk</a:t>
            </a:r>
            <a:r>
              <a:rPr lang="en-GB" sz="800" kern="1200" dirty="0">
                <a:solidFill>
                  <a:srgbClr val="FFFFFF"/>
                </a:solidFill>
                <a:latin typeface="Poppins" panose="02000000000000000000" pitchFamily="2" charset="0"/>
                <a:ea typeface="+mn-ea"/>
                <a:cs typeface="Poppins" panose="02000000000000000000" pitchFamily="2" charset="0"/>
              </a:rPr>
              <a:t> </a:t>
            </a:r>
          </a:p>
          <a:p>
            <a:endParaRPr lang="en-GB" sz="800" dirty="0">
              <a:solidFill>
                <a:schemeClr val="bg1"/>
              </a:solidFill>
              <a:latin typeface="Poppins" panose="02000000000000000000" pitchFamily="2" charset="0"/>
              <a:cs typeface="Poppins" panose="02000000000000000000" pitchFamily="2" charset="0"/>
            </a:endParaRPr>
          </a:p>
        </p:txBody>
      </p:sp>
      <p:sp>
        <p:nvSpPr>
          <p:cNvPr id="27" name="TextBox 26">
            <a:extLst>
              <a:ext uri="{FF2B5EF4-FFF2-40B4-BE49-F238E27FC236}">
                <a16:creationId xmlns:a16="http://schemas.microsoft.com/office/drawing/2014/main" id="{5E1EAD94-748A-4668-BE73-4409D62EB073}"/>
              </a:ext>
            </a:extLst>
          </p:cNvPr>
          <p:cNvSpPr txBox="1"/>
          <p:nvPr userDrawn="1"/>
        </p:nvSpPr>
        <p:spPr>
          <a:xfrm>
            <a:off x="373505" y="381301"/>
            <a:ext cx="5476025" cy="523220"/>
          </a:xfrm>
          <a:prstGeom prst="rect">
            <a:avLst/>
          </a:prstGeom>
          <a:noFill/>
        </p:spPr>
        <p:txBody>
          <a:bodyPr wrap="square" rtlCol="0">
            <a:spAutoFit/>
          </a:bodyPr>
          <a:lstStyle/>
          <a:p>
            <a:r>
              <a:rPr lang="en-GB" sz="2800" kern="1200" dirty="0">
                <a:solidFill>
                  <a:schemeClr val="bg1"/>
                </a:solidFill>
                <a:latin typeface="Poppins Medium" panose="02000000000000000000" pitchFamily="2" charset="0"/>
                <a:ea typeface="+mn-ea"/>
                <a:cs typeface="Poppins Medium" panose="02000000000000000000" pitchFamily="2" charset="0"/>
              </a:rPr>
              <a:t>Thank you</a:t>
            </a:r>
          </a:p>
        </p:txBody>
      </p:sp>
      <p:sp>
        <p:nvSpPr>
          <p:cNvPr id="23" name="Slide Number Placeholder 5">
            <a:extLst>
              <a:ext uri="{FF2B5EF4-FFF2-40B4-BE49-F238E27FC236}">
                <a16:creationId xmlns:a16="http://schemas.microsoft.com/office/drawing/2014/main" id="{A7585837-29D5-467B-95E7-6AAC44A72E5C}"/>
              </a:ext>
            </a:extLst>
          </p:cNvPr>
          <p:cNvSpPr txBox="1">
            <a:spLocks/>
          </p:cNvSpPr>
          <p:nvPr userDrawn="1"/>
        </p:nvSpPr>
        <p:spPr>
          <a:xfrm>
            <a:off x="11387581"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spc="-23"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
        <p:nvSpPr>
          <p:cNvPr id="25" name="TextBox 24">
            <a:extLst>
              <a:ext uri="{FF2B5EF4-FFF2-40B4-BE49-F238E27FC236}">
                <a16:creationId xmlns:a16="http://schemas.microsoft.com/office/drawing/2014/main" id="{847B69C1-E3CD-4C39-89E7-6453371E7376}"/>
              </a:ext>
            </a:extLst>
          </p:cNvPr>
          <p:cNvSpPr txBox="1"/>
          <p:nvPr userDrawn="1"/>
        </p:nvSpPr>
        <p:spPr>
          <a:xfrm>
            <a:off x="373711" y="6453309"/>
            <a:ext cx="3872287" cy="215444"/>
          </a:xfrm>
          <a:prstGeom prst="rect">
            <a:avLst/>
          </a:prstGeom>
          <a:noFill/>
        </p:spPr>
        <p:txBody>
          <a:bodyPr wrap="square" rtlCol="0">
            <a:spAutoFit/>
          </a:bodyPr>
          <a:lstStyle/>
          <a:p>
            <a:r>
              <a:rPr lang="en-GB" sz="800" dirty="0" err="1">
                <a:solidFill>
                  <a:schemeClr val="bg1"/>
                </a:solidFill>
                <a:latin typeface="Poppins Medium" panose="02000000000000000000" pitchFamily="2" charset="0"/>
                <a:cs typeface="Poppins Medium" panose="02000000000000000000" pitchFamily="2" charset="0"/>
              </a:rPr>
              <a:t>Zemo</a:t>
            </a:r>
            <a:r>
              <a:rPr lang="en-GB" sz="800" dirty="0">
                <a:solidFill>
                  <a:schemeClr val="bg1"/>
                </a:solidFill>
                <a:latin typeface="Poppins Medium" panose="02000000000000000000" pitchFamily="2" charset="0"/>
                <a:cs typeface="Poppins Medium" panose="02000000000000000000" pitchFamily="2" charset="0"/>
              </a:rPr>
              <a:t> Partnership </a:t>
            </a:r>
            <a:r>
              <a:rPr lang="en-GB" sz="800" dirty="0">
                <a:solidFill>
                  <a:schemeClr val="bg1"/>
                </a:solidFill>
                <a:latin typeface="Poppins" panose="02000000000000000000" pitchFamily="2" charset="0"/>
                <a:cs typeface="Poppins" panose="02000000000000000000" pitchFamily="2" charset="0"/>
              </a:rPr>
              <a:t>© Copyright 2021</a:t>
            </a:r>
          </a:p>
        </p:txBody>
      </p:sp>
      <p:pic>
        <p:nvPicPr>
          <p:cNvPr id="11" name="Picture 10">
            <a:extLst>
              <a:ext uri="{FF2B5EF4-FFF2-40B4-BE49-F238E27FC236}">
                <a16:creationId xmlns:a16="http://schemas.microsoft.com/office/drawing/2014/main" id="{569D7EAF-DF5E-4550-A7E3-87924B748E5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7802311" y="174396"/>
            <a:ext cx="4218773" cy="1735528"/>
          </a:xfrm>
          <a:prstGeom prst="rect">
            <a:avLst/>
          </a:prstGeom>
        </p:spPr>
      </p:pic>
      <p:pic>
        <p:nvPicPr>
          <p:cNvPr id="26" name="Picture 25">
            <a:extLst>
              <a:ext uri="{FF2B5EF4-FFF2-40B4-BE49-F238E27FC236}">
                <a16:creationId xmlns:a16="http://schemas.microsoft.com/office/drawing/2014/main" id="{16203968-3FE2-42D1-A077-8EB7652C034B}"/>
              </a:ext>
            </a:extLst>
          </p:cNvPr>
          <p:cNvPicPr>
            <a:picLocks noChangeAspect="1"/>
          </p:cNvPicPr>
          <p:nvPr userDrawn="1"/>
        </p:nvPicPr>
        <p:blipFill>
          <a:blip r:embed="rId6" cstate="print">
            <a:biLevel thresh="25000"/>
            <a:extLst>
              <a:ext uri="{28A0092B-C50C-407E-A947-70E740481C1C}">
                <a14:useLocalDpi xmlns:a14="http://schemas.microsoft.com/office/drawing/2010/main"/>
              </a:ext>
            </a:extLst>
          </a:blip>
          <a:stretch>
            <a:fillRect/>
          </a:stretch>
        </p:blipFill>
        <p:spPr>
          <a:xfrm>
            <a:off x="2865613" y="6271405"/>
            <a:ext cx="113972" cy="98683"/>
          </a:xfrm>
          <a:prstGeom prst="rect">
            <a:avLst/>
          </a:prstGeom>
        </p:spPr>
      </p:pic>
      <p:sp>
        <p:nvSpPr>
          <p:cNvPr id="28" name="Content Placeholder 2">
            <a:extLst>
              <a:ext uri="{FF2B5EF4-FFF2-40B4-BE49-F238E27FC236}">
                <a16:creationId xmlns:a16="http://schemas.microsoft.com/office/drawing/2014/main" id="{AFCECBDF-3449-48D9-81A0-D9417C239119}"/>
              </a:ext>
            </a:extLst>
          </p:cNvPr>
          <p:cNvSpPr>
            <a:spLocks noGrp="1"/>
          </p:cNvSpPr>
          <p:nvPr>
            <p:ph idx="1" hasCustomPrompt="1"/>
          </p:nvPr>
        </p:nvSpPr>
        <p:spPr>
          <a:xfrm>
            <a:off x="472918" y="2922062"/>
            <a:ext cx="3467965" cy="266351"/>
          </a:xfrm>
        </p:spPr>
        <p:txBody>
          <a:bodyPr/>
          <a:lstStyle>
            <a:lvl1pPr marL="0" indent="0">
              <a:buNone/>
              <a:defRPr sz="1500">
                <a:solidFill>
                  <a:schemeClr val="bg1"/>
                </a:solidFill>
              </a:defRPr>
            </a:lvl1pPr>
            <a:lvl2pPr marL="246057" indent="0">
              <a:buNone/>
              <a:defRPr>
                <a:solidFill>
                  <a:schemeClr val="tx1"/>
                </a:solidFill>
              </a:defRPr>
            </a:lvl2pPr>
            <a:lvl3pPr marL="517512" indent="0">
              <a:buNone/>
              <a:defRPr>
                <a:solidFill>
                  <a:schemeClr val="tx1"/>
                </a:solidFill>
              </a:defRPr>
            </a:lvl3pPr>
            <a:lvl4pPr marL="763569" indent="0">
              <a:buNone/>
              <a:defRPr>
                <a:solidFill>
                  <a:schemeClr val="tx1"/>
                </a:solidFill>
              </a:defRPr>
            </a:lvl4pPr>
            <a:lvl5pPr marL="1057248" indent="0">
              <a:buNone/>
              <a:defRPr>
                <a:solidFill>
                  <a:schemeClr val="tx1"/>
                </a:solidFill>
              </a:defRPr>
            </a:lvl5pPr>
          </a:lstStyle>
          <a:p>
            <a:pPr lvl="0"/>
            <a:r>
              <a:rPr lang="en-US" dirty="0"/>
              <a:t>Name Titles</a:t>
            </a:r>
            <a:endParaRPr lang="en-GB" dirty="0"/>
          </a:p>
        </p:txBody>
      </p:sp>
      <p:sp>
        <p:nvSpPr>
          <p:cNvPr id="30" name="Content Placeholder 2">
            <a:extLst>
              <a:ext uri="{FF2B5EF4-FFF2-40B4-BE49-F238E27FC236}">
                <a16:creationId xmlns:a16="http://schemas.microsoft.com/office/drawing/2014/main" id="{F80E45E3-78F0-4783-8484-72D4AEDAECC9}"/>
              </a:ext>
            </a:extLst>
          </p:cNvPr>
          <p:cNvSpPr>
            <a:spLocks noGrp="1"/>
          </p:cNvSpPr>
          <p:nvPr>
            <p:ph idx="12" hasCustomPrompt="1"/>
          </p:nvPr>
        </p:nvSpPr>
        <p:spPr>
          <a:xfrm>
            <a:off x="472918" y="3215578"/>
            <a:ext cx="3467965" cy="266351"/>
          </a:xfrm>
        </p:spPr>
        <p:txBody>
          <a:bodyPr/>
          <a:lstStyle>
            <a:lvl1pPr marL="0" indent="0">
              <a:buNone/>
              <a:defRPr sz="1500">
                <a:solidFill>
                  <a:schemeClr val="bg1"/>
                </a:solidFill>
                <a:latin typeface="Poppins Light" panose="02000000000000000000" pitchFamily="2" charset="0"/>
                <a:cs typeface="Poppins Light" panose="02000000000000000000" pitchFamily="2" charset="0"/>
              </a:defRPr>
            </a:lvl1pPr>
            <a:lvl2pPr marL="246057" indent="0">
              <a:buNone/>
              <a:defRPr>
                <a:solidFill>
                  <a:schemeClr val="tx1"/>
                </a:solidFill>
              </a:defRPr>
            </a:lvl2pPr>
            <a:lvl3pPr marL="517512" indent="0">
              <a:buNone/>
              <a:defRPr>
                <a:solidFill>
                  <a:schemeClr val="tx1"/>
                </a:solidFill>
              </a:defRPr>
            </a:lvl3pPr>
            <a:lvl4pPr marL="763569" indent="0">
              <a:buNone/>
              <a:defRPr>
                <a:solidFill>
                  <a:schemeClr val="tx1"/>
                </a:solidFill>
              </a:defRPr>
            </a:lvl4pPr>
            <a:lvl5pPr marL="1057248" indent="0">
              <a:buNone/>
              <a:defRPr>
                <a:solidFill>
                  <a:schemeClr val="tx1"/>
                </a:solidFill>
              </a:defRPr>
            </a:lvl5pPr>
          </a:lstStyle>
          <a:p>
            <a:pPr lvl="0"/>
            <a:r>
              <a:rPr lang="en-US" dirty="0"/>
              <a:t>Position</a:t>
            </a:r>
            <a:endParaRPr lang="en-GB" dirty="0"/>
          </a:p>
        </p:txBody>
      </p:sp>
      <p:sp>
        <p:nvSpPr>
          <p:cNvPr id="31" name="Content Placeholder 2">
            <a:extLst>
              <a:ext uri="{FF2B5EF4-FFF2-40B4-BE49-F238E27FC236}">
                <a16:creationId xmlns:a16="http://schemas.microsoft.com/office/drawing/2014/main" id="{F1D9CF1F-ED00-457E-BCAF-79D01E578FE2}"/>
              </a:ext>
            </a:extLst>
          </p:cNvPr>
          <p:cNvSpPr>
            <a:spLocks noGrp="1"/>
          </p:cNvSpPr>
          <p:nvPr>
            <p:ph idx="13" hasCustomPrompt="1"/>
          </p:nvPr>
        </p:nvSpPr>
        <p:spPr>
          <a:xfrm>
            <a:off x="687605" y="3505806"/>
            <a:ext cx="3253279" cy="266351"/>
          </a:xfrm>
        </p:spPr>
        <p:txBody>
          <a:bodyPr/>
          <a:lstStyle>
            <a:lvl1pPr marL="0" indent="0">
              <a:buNone/>
              <a:defRPr lang="en-GB" sz="1500" kern="1200" dirty="0">
                <a:solidFill>
                  <a:schemeClr val="bg1"/>
                </a:solidFill>
                <a:latin typeface="Poppins Light" panose="02000000000000000000" pitchFamily="2" charset="0"/>
                <a:ea typeface="+mn-ea"/>
                <a:cs typeface="Poppins Light" panose="02000000000000000000" pitchFamily="2" charset="0"/>
              </a:defRPr>
            </a:lvl1pPr>
            <a:lvl2pPr marL="246057" indent="0">
              <a:buNone/>
              <a:defRPr>
                <a:solidFill>
                  <a:schemeClr val="tx1"/>
                </a:solidFill>
              </a:defRPr>
            </a:lvl2pPr>
            <a:lvl3pPr marL="517512" indent="0">
              <a:buNone/>
              <a:defRPr>
                <a:solidFill>
                  <a:schemeClr val="tx1"/>
                </a:solidFill>
              </a:defRPr>
            </a:lvl3pPr>
            <a:lvl4pPr marL="763569" indent="0">
              <a:buNone/>
              <a:defRPr>
                <a:solidFill>
                  <a:schemeClr val="tx1"/>
                </a:solidFill>
              </a:defRPr>
            </a:lvl4pPr>
            <a:lvl5pPr marL="1057248" indent="0">
              <a:buNone/>
              <a:defRPr>
                <a:solidFill>
                  <a:schemeClr val="tx1"/>
                </a:solidFill>
              </a:defRPr>
            </a:lvl5pPr>
          </a:lstStyle>
          <a:p>
            <a:pPr lvl="0"/>
            <a:r>
              <a:rPr lang="en-US" dirty="0"/>
              <a:t>first.surname@zemo.org.uk</a:t>
            </a:r>
            <a:endParaRPr lang="en-GB" dirty="0"/>
          </a:p>
        </p:txBody>
      </p:sp>
      <p:sp>
        <p:nvSpPr>
          <p:cNvPr id="32" name="Content Placeholder 2">
            <a:extLst>
              <a:ext uri="{FF2B5EF4-FFF2-40B4-BE49-F238E27FC236}">
                <a16:creationId xmlns:a16="http://schemas.microsoft.com/office/drawing/2014/main" id="{90CCDB89-B512-4A32-9827-D776B903C90B}"/>
              </a:ext>
            </a:extLst>
          </p:cNvPr>
          <p:cNvSpPr>
            <a:spLocks noGrp="1"/>
          </p:cNvSpPr>
          <p:nvPr>
            <p:ph idx="14" hasCustomPrompt="1"/>
          </p:nvPr>
        </p:nvSpPr>
        <p:spPr>
          <a:xfrm>
            <a:off x="702047" y="3787226"/>
            <a:ext cx="2992452" cy="266351"/>
          </a:xfrm>
        </p:spPr>
        <p:txBody>
          <a:bodyPr/>
          <a:lstStyle>
            <a:lvl1pPr marL="0" indent="0">
              <a:buNone/>
              <a:defRPr sz="1500">
                <a:solidFill>
                  <a:schemeClr val="bg1"/>
                </a:solidFill>
                <a:latin typeface="Poppins Light" panose="02000000000000000000" pitchFamily="2" charset="0"/>
                <a:cs typeface="Poppins Light" panose="02000000000000000000" pitchFamily="2" charset="0"/>
              </a:defRPr>
            </a:lvl1pPr>
            <a:lvl2pPr marL="246057" indent="0">
              <a:buNone/>
              <a:defRPr>
                <a:solidFill>
                  <a:schemeClr val="tx1"/>
                </a:solidFill>
              </a:defRPr>
            </a:lvl2pPr>
            <a:lvl3pPr marL="517512" indent="0">
              <a:buNone/>
              <a:defRPr>
                <a:solidFill>
                  <a:schemeClr val="tx1"/>
                </a:solidFill>
              </a:defRPr>
            </a:lvl3pPr>
            <a:lvl4pPr marL="763569" indent="0">
              <a:buNone/>
              <a:defRPr>
                <a:solidFill>
                  <a:schemeClr val="tx1"/>
                </a:solidFill>
              </a:defRPr>
            </a:lvl4pPr>
            <a:lvl5pPr marL="1057248" indent="0">
              <a:buNone/>
              <a:defRPr>
                <a:solidFill>
                  <a:schemeClr val="tx1"/>
                </a:solidFill>
              </a:defRPr>
            </a:lvl5pPr>
          </a:lstStyle>
          <a:p>
            <a:pPr lvl="0"/>
            <a:r>
              <a:rPr lang="en-US" dirty="0"/>
              <a:t>020 7304 XXXX</a:t>
            </a:r>
            <a:endParaRPr lang="en-GB" dirty="0"/>
          </a:p>
        </p:txBody>
      </p:sp>
      <p:sp>
        <p:nvSpPr>
          <p:cNvPr id="33" name="TextBox 32">
            <a:extLst>
              <a:ext uri="{FF2B5EF4-FFF2-40B4-BE49-F238E27FC236}">
                <a16:creationId xmlns:a16="http://schemas.microsoft.com/office/drawing/2014/main" id="{7A198F02-10FE-4E22-8DC6-393EA3A78AA9}"/>
              </a:ext>
            </a:extLst>
          </p:cNvPr>
          <p:cNvSpPr txBox="1"/>
          <p:nvPr userDrawn="1"/>
        </p:nvSpPr>
        <p:spPr>
          <a:xfrm>
            <a:off x="368516" y="3518509"/>
            <a:ext cx="383557" cy="323165"/>
          </a:xfrm>
          <a:prstGeom prst="rect">
            <a:avLst/>
          </a:prstGeom>
          <a:noFill/>
        </p:spPr>
        <p:txBody>
          <a:bodyPr wrap="square" rtlCol="0">
            <a:spAutoFit/>
          </a:bodyPr>
          <a:lstStyle/>
          <a:p>
            <a:r>
              <a:rPr lang="en-GB" sz="1500" kern="1200" dirty="0">
                <a:solidFill>
                  <a:schemeClr val="bg1"/>
                </a:solidFill>
                <a:latin typeface="Poppins Medium" panose="02000000000000000000" pitchFamily="2" charset="0"/>
                <a:ea typeface="+mn-ea"/>
                <a:cs typeface="Poppins Medium" panose="02000000000000000000" pitchFamily="2" charset="0"/>
              </a:rPr>
              <a:t>E:</a:t>
            </a:r>
          </a:p>
        </p:txBody>
      </p:sp>
      <p:sp>
        <p:nvSpPr>
          <p:cNvPr id="34" name="TextBox 33">
            <a:extLst>
              <a:ext uri="{FF2B5EF4-FFF2-40B4-BE49-F238E27FC236}">
                <a16:creationId xmlns:a16="http://schemas.microsoft.com/office/drawing/2014/main" id="{2099A3C2-8CBA-4746-A8DD-0E794E4BAB32}"/>
              </a:ext>
            </a:extLst>
          </p:cNvPr>
          <p:cNvSpPr txBox="1"/>
          <p:nvPr userDrawn="1"/>
        </p:nvSpPr>
        <p:spPr>
          <a:xfrm>
            <a:off x="371456" y="3794033"/>
            <a:ext cx="383557" cy="323165"/>
          </a:xfrm>
          <a:prstGeom prst="rect">
            <a:avLst/>
          </a:prstGeom>
          <a:noFill/>
        </p:spPr>
        <p:txBody>
          <a:bodyPr wrap="square" rtlCol="0">
            <a:spAutoFit/>
          </a:bodyPr>
          <a:lstStyle/>
          <a:p>
            <a:r>
              <a:rPr lang="en-GB" sz="1500" kern="1200" dirty="0">
                <a:solidFill>
                  <a:schemeClr val="bg1"/>
                </a:solidFill>
                <a:latin typeface="Poppins Medium" panose="02000000000000000000" pitchFamily="2" charset="0"/>
                <a:ea typeface="+mn-ea"/>
                <a:cs typeface="Poppins Medium" panose="02000000000000000000" pitchFamily="2" charset="0"/>
              </a:rPr>
              <a:t>T:</a:t>
            </a:r>
          </a:p>
        </p:txBody>
      </p:sp>
      <p:sp>
        <p:nvSpPr>
          <p:cNvPr id="35" name="Content Placeholder 2">
            <a:extLst>
              <a:ext uri="{FF2B5EF4-FFF2-40B4-BE49-F238E27FC236}">
                <a16:creationId xmlns:a16="http://schemas.microsoft.com/office/drawing/2014/main" id="{69839537-279D-4208-8684-91FC1240FC22}"/>
              </a:ext>
            </a:extLst>
          </p:cNvPr>
          <p:cNvSpPr>
            <a:spLocks noGrp="1"/>
          </p:cNvSpPr>
          <p:nvPr>
            <p:ph idx="15" hasCustomPrompt="1"/>
          </p:nvPr>
        </p:nvSpPr>
        <p:spPr>
          <a:xfrm>
            <a:off x="472918" y="4561821"/>
            <a:ext cx="3467965" cy="266351"/>
          </a:xfrm>
        </p:spPr>
        <p:txBody>
          <a:bodyPr/>
          <a:lstStyle>
            <a:lvl1pPr marL="0" indent="0">
              <a:buNone/>
              <a:defRPr sz="1500">
                <a:solidFill>
                  <a:schemeClr val="bg1"/>
                </a:solidFill>
              </a:defRPr>
            </a:lvl1pPr>
            <a:lvl2pPr marL="246057" indent="0">
              <a:buNone/>
              <a:defRPr>
                <a:solidFill>
                  <a:schemeClr val="tx1"/>
                </a:solidFill>
              </a:defRPr>
            </a:lvl2pPr>
            <a:lvl3pPr marL="517512" indent="0">
              <a:buNone/>
              <a:defRPr>
                <a:solidFill>
                  <a:schemeClr val="tx1"/>
                </a:solidFill>
              </a:defRPr>
            </a:lvl3pPr>
            <a:lvl4pPr marL="763569" indent="0">
              <a:buNone/>
              <a:defRPr>
                <a:solidFill>
                  <a:schemeClr val="tx1"/>
                </a:solidFill>
              </a:defRPr>
            </a:lvl4pPr>
            <a:lvl5pPr marL="1057248" indent="0">
              <a:buNone/>
              <a:defRPr>
                <a:solidFill>
                  <a:schemeClr val="tx1"/>
                </a:solidFill>
              </a:defRPr>
            </a:lvl5pPr>
          </a:lstStyle>
          <a:p>
            <a:pPr lvl="0"/>
            <a:r>
              <a:rPr lang="en-US" dirty="0"/>
              <a:t>Name Titles</a:t>
            </a:r>
            <a:endParaRPr lang="en-GB" dirty="0"/>
          </a:p>
        </p:txBody>
      </p:sp>
      <p:sp>
        <p:nvSpPr>
          <p:cNvPr id="36" name="Content Placeholder 2">
            <a:extLst>
              <a:ext uri="{FF2B5EF4-FFF2-40B4-BE49-F238E27FC236}">
                <a16:creationId xmlns:a16="http://schemas.microsoft.com/office/drawing/2014/main" id="{933E4C0A-9D42-4C4C-B70B-43BFDCAA2180}"/>
              </a:ext>
            </a:extLst>
          </p:cNvPr>
          <p:cNvSpPr>
            <a:spLocks noGrp="1"/>
          </p:cNvSpPr>
          <p:nvPr>
            <p:ph idx="16" hasCustomPrompt="1"/>
          </p:nvPr>
        </p:nvSpPr>
        <p:spPr>
          <a:xfrm>
            <a:off x="472918" y="4845810"/>
            <a:ext cx="3467965" cy="266351"/>
          </a:xfrm>
        </p:spPr>
        <p:txBody>
          <a:bodyPr/>
          <a:lstStyle>
            <a:lvl1pPr marL="0" indent="0">
              <a:buNone/>
              <a:defRPr sz="1500">
                <a:solidFill>
                  <a:schemeClr val="bg1"/>
                </a:solidFill>
                <a:latin typeface="Poppins Light" panose="02000000000000000000" pitchFamily="2" charset="0"/>
                <a:cs typeface="Poppins Light" panose="02000000000000000000" pitchFamily="2" charset="0"/>
              </a:defRPr>
            </a:lvl1pPr>
            <a:lvl2pPr marL="246057" indent="0">
              <a:buNone/>
              <a:defRPr>
                <a:solidFill>
                  <a:schemeClr val="tx1"/>
                </a:solidFill>
              </a:defRPr>
            </a:lvl2pPr>
            <a:lvl3pPr marL="517512" indent="0">
              <a:buNone/>
              <a:defRPr>
                <a:solidFill>
                  <a:schemeClr val="tx1"/>
                </a:solidFill>
              </a:defRPr>
            </a:lvl3pPr>
            <a:lvl4pPr marL="763569" indent="0">
              <a:buNone/>
              <a:defRPr>
                <a:solidFill>
                  <a:schemeClr val="tx1"/>
                </a:solidFill>
              </a:defRPr>
            </a:lvl4pPr>
            <a:lvl5pPr marL="1057248" indent="0">
              <a:buNone/>
              <a:defRPr>
                <a:solidFill>
                  <a:schemeClr val="tx1"/>
                </a:solidFill>
              </a:defRPr>
            </a:lvl5pPr>
          </a:lstStyle>
          <a:p>
            <a:pPr lvl="0"/>
            <a:r>
              <a:rPr lang="en-US" dirty="0"/>
              <a:t>Position</a:t>
            </a:r>
            <a:endParaRPr lang="en-GB" dirty="0"/>
          </a:p>
        </p:txBody>
      </p:sp>
      <p:sp>
        <p:nvSpPr>
          <p:cNvPr id="37" name="Content Placeholder 2">
            <a:extLst>
              <a:ext uri="{FF2B5EF4-FFF2-40B4-BE49-F238E27FC236}">
                <a16:creationId xmlns:a16="http://schemas.microsoft.com/office/drawing/2014/main" id="{D74208BD-8444-4F5C-B44F-94B671832B1D}"/>
              </a:ext>
            </a:extLst>
          </p:cNvPr>
          <p:cNvSpPr>
            <a:spLocks noGrp="1"/>
          </p:cNvSpPr>
          <p:nvPr>
            <p:ph idx="17" hasCustomPrompt="1"/>
          </p:nvPr>
        </p:nvSpPr>
        <p:spPr>
          <a:xfrm>
            <a:off x="687605" y="5124797"/>
            <a:ext cx="3253279" cy="266351"/>
          </a:xfrm>
        </p:spPr>
        <p:txBody>
          <a:bodyPr/>
          <a:lstStyle>
            <a:lvl1pPr marL="0" indent="0">
              <a:buNone/>
              <a:defRPr sz="1500">
                <a:solidFill>
                  <a:schemeClr val="bg1"/>
                </a:solidFill>
                <a:latin typeface="Poppins Light" panose="02000000000000000000" pitchFamily="2" charset="0"/>
                <a:cs typeface="Poppins Light" panose="02000000000000000000" pitchFamily="2" charset="0"/>
              </a:defRPr>
            </a:lvl1pPr>
            <a:lvl2pPr marL="246057" indent="0">
              <a:buNone/>
              <a:defRPr>
                <a:solidFill>
                  <a:schemeClr val="tx1"/>
                </a:solidFill>
              </a:defRPr>
            </a:lvl2pPr>
            <a:lvl3pPr marL="517512" indent="0">
              <a:buNone/>
              <a:defRPr>
                <a:solidFill>
                  <a:schemeClr val="tx1"/>
                </a:solidFill>
              </a:defRPr>
            </a:lvl3pPr>
            <a:lvl4pPr marL="763569" indent="0">
              <a:buNone/>
              <a:defRPr>
                <a:solidFill>
                  <a:schemeClr val="tx1"/>
                </a:solidFill>
              </a:defRPr>
            </a:lvl4pPr>
            <a:lvl5pPr marL="1057248" indent="0">
              <a:buNone/>
              <a:defRPr>
                <a:solidFill>
                  <a:schemeClr val="tx1"/>
                </a:solidFill>
              </a:defRPr>
            </a:lvl5pPr>
          </a:lstStyle>
          <a:p>
            <a:pPr lvl="0"/>
            <a:r>
              <a:rPr lang="en-US" dirty="0"/>
              <a:t>first.surname@zemo.org.uk</a:t>
            </a:r>
            <a:endParaRPr lang="en-GB" dirty="0"/>
          </a:p>
        </p:txBody>
      </p:sp>
      <p:sp>
        <p:nvSpPr>
          <p:cNvPr id="38" name="TextBox 37">
            <a:extLst>
              <a:ext uri="{FF2B5EF4-FFF2-40B4-BE49-F238E27FC236}">
                <a16:creationId xmlns:a16="http://schemas.microsoft.com/office/drawing/2014/main" id="{6C34EA97-DF16-4D4F-A75B-1FA307018C05}"/>
              </a:ext>
            </a:extLst>
          </p:cNvPr>
          <p:cNvSpPr txBox="1"/>
          <p:nvPr userDrawn="1"/>
        </p:nvSpPr>
        <p:spPr>
          <a:xfrm>
            <a:off x="368516" y="5153583"/>
            <a:ext cx="383557" cy="323165"/>
          </a:xfrm>
          <a:prstGeom prst="rect">
            <a:avLst/>
          </a:prstGeom>
          <a:noFill/>
        </p:spPr>
        <p:txBody>
          <a:bodyPr wrap="square" rtlCol="0">
            <a:spAutoFit/>
          </a:bodyPr>
          <a:lstStyle/>
          <a:p>
            <a:r>
              <a:rPr lang="en-GB" sz="1500" kern="1200" dirty="0">
                <a:solidFill>
                  <a:schemeClr val="bg1"/>
                </a:solidFill>
                <a:latin typeface="Poppins Medium" panose="02000000000000000000" pitchFamily="2" charset="0"/>
                <a:ea typeface="+mn-ea"/>
                <a:cs typeface="Poppins Medium" panose="02000000000000000000" pitchFamily="2" charset="0"/>
              </a:rPr>
              <a:t>E:</a:t>
            </a:r>
          </a:p>
        </p:txBody>
      </p:sp>
      <p:sp>
        <p:nvSpPr>
          <p:cNvPr id="39" name="TextBox 38">
            <a:extLst>
              <a:ext uri="{FF2B5EF4-FFF2-40B4-BE49-F238E27FC236}">
                <a16:creationId xmlns:a16="http://schemas.microsoft.com/office/drawing/2014/main" id="{0BAB1DCA-933D-4BC5-96A3-55645CD78A59}"/>
              </a:ext>
            </a:extLst>
          </p:cNvPr>
          <p:cNvSpPr txBox="1"/>
          <p:nvPr userDrawn="1"/>
        </p:nvSpPr>
        <p:spPr>
          <a:xfrm>
            <a:off x="371456" y="5419275"/>
            <a:ext cx="383557" cy="323165"/>
          </a:xfrm>
          <a:prstGeom prst="rect">
            <a:avLst/>
          </a:prstGeom>
          <a:noFill/>
        </p:spPr>
        <p:txBody>
          <a:bodyPr wrap="square" rtlCol="0">
            <a:spAutoFit/>
          </a:bodyPr>
          <a:lstStyle/>
          <a:p>
            <a:r>
              <a:rPr lang="en-GB" sz="1500" kern="1200" dirty="0">
                <a:solidFill>
                  <a:schemeClr val="bg1"/>
                </a:solidFill>
                <a:latin typeface="Poppins Medium" panose="02000000000000000000" pitchFamily="2" charset="0"/>
                <a:ea typeface="+mn-ea"/>
                <a:cs typeface="Poppins Medium" panose="02000000000000000000" pitchFamily="2" charset="0"/>
              </a:rPr>
              <a:t>T:</a:t>
            </a:r>
          </a:p>
        </p:txBody>
      </p:sp>
      <p:sp>
        <p:nvSpPr>
          <p:cNvPr id="40" name="TextBox 39">
            <a:extLst>
              <a:ext uri="{FF2B5EF4-FFF2-40B4-BE49-F238E27FC236}">
                <a16:creationId xmlns:a16="http://schemas.microsoft.com/office/drawing/2014/main" id="{655E418A-E3BD-4ED8-A984-10613A2CEC3A}"/>
              </a:ext>
            </a:extLst>
          </p:cNvPr>
          <p:cNvSpPr txBox="1"/>
          <p:nvPr userDrawn="1"/>
        </p:nvSpPr>
        <p:spPr>
          <a:xfrm>
            <a:off x="368517" y="4198953"/>
            <a:ext cx="5476025" cy="323165"/>
          </a:xfrm>
          <a:prstGeom prst="rect">
            <a:avLst/>
          </a:prstGeom>
          <a:noFill/>
        </p:spPr>
        <p:txBody>
          <a:bodyPr wrap="square" rtlCol="0">
            <a:spAutoFit/>
          </a:bodyPr>
          <a:lstStyle/>
          <a:p>
            <a:r>
              <a:rPr lang="en-GB" sz="1500" kern="1200" dirty="0">
                <a:solidFill>
                  <a:schemeClr val="bg1"/>
                </a:solidFill>
                <a:latin typeface="Poppins Medium" panose="02000000000000000000" pitchFamily="2" charset="0"/>
                <a:ea typeface="+mn-ea"/>
                <a:cs typeface="Poppins Medium" panose="02000000000000000000" pitchFamily="2" charset="0"/>
              </a:rPr>
              <a:t>Interested in joining the Partnership?</a:t>
            </a:r>
          </a:p>
        </p:txBody>
      </p:sp>
      <p:sp>
        <p:nvSpPr>
          <p:cNvPr id="41" name="TextBox 40">
            <a:extLst>
              <a:ext uri="{FF2B5EF4-FFF2-40B4-BE49-F238E27FC236}">
                <a16:creationId xmlns:a16="http://schemas.microsoft.com/office/drawing/2014/main" id="{9B5BFCC8-FF40-4A84-848D-7A8BE48B6205}"/>
              </a:ext>
            </a:extLst>
          </p:cNvPr>
          <p:cNvSpPr txBox="1"/>
          <p:nvPr userDrawn="1"/>
        </p:nvSpPr>
        <p:spPr>
          <a:xfrm>
            <a:off x="373505" y="2566534"/>
            <a:ext cx="5476025" cy="323165"/>
          </a:xfrm>
          <a:prstGeom prst="rect">
            <a:avLst/>
          </a:prstGeom>
          <a:noFill/>
        </p:spPr>
        <p:txBody>
          <a:bodyPr wrap="square" rtlCol="0">
            <a:spAutoFit/>
          </a:bodyPr>
          <a:lstStyle/>
          <a:p>
            <a:r>
              <a:rPr lang="en-GB" sz="1500" kern="1200" dirty="0">
                <a:solidFill>
                  <a:schemeClr val="bg1"/>
                </a:solidFill>
                <a:latin typeface="Poppins Medium" panose="02000000000000000000" pitchFamily="2" charset="0"/>
                <a:ea typeface="+mn-ea"/>
                <a:cs typeface="Poppins Medium" panose="02000000000000000000" pitchFamily="2" charset="0"/>
              </a:rPr>
              <a:t>Any questions? Please get in touch</a:t>
            </a:r>
          </a:p>
        </p:txBody>
      </p:sp>
      <p:sp>
        <p:nvSpPr>
          <p:cNvPr id="43" name="Content Placeholder 2">
            <a:extLst>
              <a:ext uri="{FF2B5EF4-FFF2-40B4-BE49-F238E27FC236}">
                <a16:creationId xmlns:a16="http://schemas.microsoft.com/office/drawing/2014/main" id="{442242D0-DA9E-43A9-86CB-F6152C6CD447}"/>
              </a:ext>
            </a:extLst>
          </p:cNvPr>
          <p:cNvSpPr>
            <a:spLocks noGrp="1"/>
          </p:cNvSpPr>
          <p:nvPr>
            <p:ph idx="19" hasCustomPrompt="1"/>
          </p:nvPr>
        </p:nvSpPr>
        <p:spPr>
          <a:xfrm>
            <a:off x="702047" y="5418981"/>
            <a:ext cx="3253277" cy="266351"/>
          </a:xfrm>
        </p:spPr>
        <p:txBody>
          <a:bodyPr/>
          <a:lstStyle>
            <a:lvl1pPr marL="0" indent="0">
              <a:buNone/>
              <a:defRPr sz="1500">
                <a:solidFill>
                  <a:schemeClr val="bg1"/>
                </a:solidFill>
                <a:latin typeface="Poppins Light" panose="02000000000000000000" pitchFamily="2" charset="0"/>
                <a:cs typeface="Poppins Light" panose="02000000000000000000" pitchFamily="2" charset="0"/>
              </a:defRPr>
            </a:lvl1pPr>
            <a:lvl2pPr marL="246057" indent="0">
              <a:buNone/>
              <a:defRPr>
                <a:solidFill>
                  <a:schemeClr val="tx1"/>
                </a:solidFill>
              </a:defRPr>
            </a:lvl2pPr>
            <a:lvl3pPr marL="517512" indent="0">
              <a:buNone/>
              <a:defRPr>
                <a:solidFill>
                  <a:schemeClr val="tx1"/>
                </a:solidFill>
              </a:defRPr>
            </a:lvl3pPr>
            <a:lvl4pPr marL="763569" indent="0">
              <a:buNone/>
              <a:defRPr>
                <a:solidFill>
                  <a:schemeClr val="tx1"/>
                </a:solidFill>
              </a:defRPr>
            </a:lvl4pPr>
            <a:lvl5pPr marL="1057248" indent="0">
              <a:buNone/>
              <a:defRPr>
                <a:solidFill>
                  <a:schemeClr val="tx1"/>
                </a:solidFill>
              </a:defRPr>
            </a:lvl5pPr>
          </a:lstStyle>
          <a:p>
            <a:pPr lvl="0"/>
            <a:r>
              <a:rPr lang="en-US" dirty="0"/>
              <a:t>020 7304 XXXX</a:t>
            </a:r>
            <a:endParaRPr lang="en-GB" dirty="0"/>
          </a:p>
        </p:txBody>
      </p:sp>
    </p:spTree>
    <p:extLst>
      <p:ext uri="{BB962C8B-B14F-4D97-AF65-F5344CB8AC3E}">
        <p14:creationId xmlns:p14="http://schemas.microsoft.com/office/powerpoint/2010/main" val="164260733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AD59D2B-CD21-48D9-A10F-A2E3332247C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
          <a:stretch/>
        </p:blipFill>
        <p:spPr>
          <a:xfrm>
            <a:off x="0" y="-2"/>
            <a:ext cx="12192000" cy="6858001"/>
          </a:xfrm>
          <a:prstGeom prst="rect">
            <a:avLst/>
          </a:prstGeom>
        </p:spPr>
      </p:pic>
      <p:sp>
        <p:nvSpPr>
          <p:cNvPr id="16" name="Title 1">
            <a:extLst>
              <a:ext uri="{FF2B5EF4-FFF2-40B4-BE49-F238E27FC236}">
                <a16:creationId xmlns:a16="http://schemas.microsoft.com/office/drawing/2014/main" id="{3CDC1F25-336E-4B7B-9B58-F607253E45C8}"/>
              </a:ext>
            </a:extLst>
          </p:cNvPr>
          <p:cNvSpPr>
            <a:spLocks noGrp="1"/>
          </p:cNvSpPr>
          <p:nvPr>
            <p:ph type="ctrTitle" hasCustomPrompt="1"/>
          </p:nvPr>
        </p:nvSpPr>
        <p:spPr>
          <a:xfrm>
            <a:off x="454025" y="1292224"/>
            <a:ext cx="7477125" cy="709613"/>
          </a:xfrm>
        </p:spPr>
        <p:txBody>
          <a:bodyPr anchor="b"/>
          <a:lstStyle>
            <a:lvl1pPr algn="l">
              <a:defRPr sz="2800">
                <a:solidFill>
                  <a:schemeClr val="bg1"/>
                </a:solidFill>
              </a:defRPr>
            </a:lvl1pPr>
          </a:lstStyle>
          <a:p>
            <a:r>
              <a:rPr lang="en-US" dirty="0"/>
              <a:t>Cover heading</a:t>
            </a:r>
            <a:endParaRPr lang="en-GB" dirty="0"/>
          </a:p>
        </p:txBody>
      </p:sp>
      <p:sp>
        <p:nvSpPr>
          <p:cNvPr id="17" name="Subtitle 2">
            <a:extLst>
              <a:ext uri="{FF2B5EF4-FFF2-40B4-BE49-F238E27FC236}">
                <a16:creationId xmlns:a16="http://schemas.microsoft.com/office/drawing/2014/main" id="{41092413-28F2-4D8A-9F6A-727AF9C5902D}"/>
              </a:ext>
            </a:extLst>
          </p:cNvPr>
          <p:cNvSpPr>
            <a:spLocks noGrp="1"/>
          </p:cNvSpPr>
          <p:nvPr>
            <p:ph type="subTitle" idx="1" hasCustomPrompt="1"/>
          </p:nvPr>
        </p:nvSpPr>
        <p:spPr>
          <a:xfrm>
            <a:off x="454025" y="2049463"/>
            <a:ext cx="7477125" cy="572903"/>
          </a:xfrm>
        </p:spPr>
        <p:txBody>
          <a:bodyPr/>
          <a:lstStyle>
            <a:lvl1pPr marL="0" indent="0" algn="l">
              <a:buNone/>
              <a:defRPr sz="2000">
                <a:solidFill>
                  <a:schemeClr val="bg1"/>
                </a:solidFill>
                <a:latin typeface="Poppins Medium" panose="02000000000000000000" pitchFamily="2" charset="0"/>
                <a:cs typeface="Poppins Medium" panose="020000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endParaRPr lang="en-GB" dirty="0"/>
          </a:p>
        </p:txBody>
      </p:sp>
      <p:sp>
        <p:nvSpPr>
          <p:cNvPr id="18" name="Text Placeholder 9">
            <a:extLst>
              <a:ext uri="{FF2B5EF4-FFF2-40B4-BE49-F238E27FC236}">
                <a16:creationId xmlns:a16="http://schemas.microsoft.com/office/drawing/2014/main" id="{43E646EC-1763-430F-91F9-2160DDE242B3}"/>
              </a:ext>
            </a:extLst>
          </p:cNvPr>
          <p:cNvSpPr>
            <a:spLocks noGrp="1"/>
          </p:cNvSpPr>
          <p:nvPr>
            <p:ph type="body" sz="quarter" idx="10" hasCustomPrompt="1"/>
          </p:nvPr>
        </p:nvSpPr>
        <p:spPr>
          <a:xfrm>
            <a:off x="466725" y="3133725"/>
            <a:ext cx="5532422" cy="295275"/>
          </a:xfrm>
        </p:spPr>
        <p:txBody>
          <a:bodyPr/>
          <a:lstStyle>
            <a:lvl1pPr marL="0" indent="0">
              <a:buNone/>
              <a:defRPr sz="1600">
                <a:solidFill>
                  <a:schemeClr val="bg1"/>
                </a:solidFill>
                <a:latin typeface="Poppins Light" panose="02000000000000000000" pitchFamily="2" charset="0"/>
                <a:cs typeface="Poppins Light" panose="02000000000000000000" pitchFamily="2" charset="0"/>
              </a:defRPr>
            </a:lvl1pPr>
            <a:lvl2pPr marL="246063" indent="0">
              <a:buNone/>
              <a:defRPr sz="1700">
                <a:solidFill>
                  <a:schemeClr val="bg1"/>
                </a:solidFill>
                <a:latin typeface="Poppins Light" panose="02000000000000000000" pitchFamily="2" charset="0"/>
                <a:cs typeface="Poppins Light" panose="02000000000000000000" pitchFamily="2" charset="0"/>
              </a:defRPr>
            </a:lvl2pPr>
            <a:lvl3pPr marL="517525" indent="0">
              <a:buNone/>
              <a:defRPr sz="1700">
                <a:solidFill>
                  <a:schemeClr val="bg1"/>
                </a:solidFill>
                <a:latin typeface="Poppins Light" panose="02000000000000000000" pitchFamily="2" charset="0"/>
                <a:cs typeface="Poppins Light" panose="02000000000000000000" pitchFamily="2" charset="0"/>
              </a:defRPr>
            </a:lvl3pPr>
            <a:lvl4pPr marL="763588" indent="0">
              <a:buNone/>
              <a:defRPr sz="1700">
                <a:solidFill>
                  <a:schemeClr val="bg1"/>
                </a:solidFill>
                <a:latin typeface="Poppins Light" panose="02000000000000000000" pitchFamily="2" charset="0"/>
                <a:cs typeface="Poppins Light" panose="02000000000000000000" pitchFamily="2" charset="0"/>
              </a:defRPr>
            </a:lvl4pPr>
            <a:lvl5pPr marL="1057275" indent="0">
              <a:buNone/>
              <a:defRPr sz="1700">
                <a:solidFill>
                  <a:schemeClr val="bg1"/>
                </a:solidFill>
                <a:latin typeface="Poppins Light" panose="02000000000000000000" pitchFamily="2" charset="0"/>
                <a:cs typeface="Poppins Light" panose="02000000000000000000" pitchFamily="2" charset="0"/>
              </a:defRPr>
            </a:lvl5pPr>
          </a:lstStyle>
          <a:p>
            <a:pPr lvl="0"/>
            <a:r>
              <a:rPr lang="en-US" dirty="0"/>
              <a:t>V[X] DD.MM.YY</a:t>
            </a:r>
            <a:endParaRPr lang="en-GB" dirty="0"/>
          </a:p>
        </p:txBody>
      </p:sp>
      <p:pic>
        <p:nvPicPr>
          <p:cNvPr id="21" name="Picture 20">
            <a:extLst>
              <a:ext uri="{FF2B5EF4-FFF2-40B4-BE49-F238E27FC236}">
                <a16:creationId xmlns:a16="http://schemas.microsoft.com/office/drawing/2014/main" id="{CCAC3C35-AFC4-4898-9214-536B751EA27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800891" y="155564"/>
            <a:ext cx="4210134" cy="1731974"/>
          </a:xfrm>
          <a:prstGeom prst="rect">
            <a:avLst/>
          </a:prstGeom>
        </p:spPr>
      </p:pic>
    </p:spTree>
    <p:extLst>
      <p:ext uri="{BB962C8B-B14F-4D97-AF65-F5344CB8AC3E}">
        <p14:creationId xmlns:p14="http://schemas.microsoft.com/office/powerpoint/2010/main" val="46391755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elcome slide">
    <p:spTree>
      <p:nvGrpSpPr>
        <p:cNvPr id="1" name=""/>
        <p:cNvGrpSpPr/>
        <p:nvPr/>
      </p:nvGrpSpPr>
      <p:grpSpPr>
        <a:xfrm>
          <a:off x="0" y="0"/>
          <a:ext cx="0" cy="0"/>
          <a:chOff x="0" y="0"/>
          <a:chExt cx="0" cy="0"/>
        </a:xfrm>
      </p:grpSpPr>
      <p:sp>
        <p:nvSpPr>
          <p:cNvPr id="113" name="Rectangle 112">
            <a:extLst>
              <a:ext uri="{FF2B5EF4-FFF2-40B4-BE49-F238E27FC236}">
                <a16:creationId xmlns:a16="http://schemas.microsoft.com/office/drawing/2014/main" id="{A4324F8C-6180-4AF9-98F0-06A2DC0D016F}"/>
              </a:ext>
            </a:extLst>
          </p:cNvPr>
          <p:cNvSpPr/>
          <p:nvPr userDrawn="1"/>
        </p:nvSpPr>
        <p:spPr>
          <a:xfrm>
            <a:off x="7410450" y="0"/>
            <a:ext cx="4679950" cy="14537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49723DD5-EB76-4DE3-BEAD-43111479518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4377"/>
            <a:ext cx="12192000" cy="6849245"/>
          </a:xfrm>
          <a:prstGeom prst="rect">
            <a:avLst/>
          </a:prstGeom>
        </p:spPr>
      </p:pic>
      <p:sp>
        <p:nvSpPr>
          <p:cNvPr id="10" name="Text Placeholder 9">
            <a:extLst>
              <a:ext uri="{FF2B5EF4-FFF2-40B4-BE49-F238E27FC236}">
                <a16:creationId xmlns:a16="http://schemas.microsoft.com/office/drawing/2014/main" id="{F17F64DC-56E0-458F-A3CF-F3466E54783B}"/>
              </a:ext>
            </a:extLst>
          </p:cNvPr>
          <p:cNvSpPr>
            <a:spLocks noGrp="1"/>
          </p:cNvSpPr>
          <p:nvPr>
            <p:ph type="body" sz="quarter" idx="11" hasCustomPrompt="1"/>
          </p:nvPr>
        </p:nvSpPr>
        <p:spPr>
          <a:xfrm>
            <a:off x="472355" y="2285065"/>
            <a:ext cx="6814270" cy="947738"/>
          </a:xfrm>
        </p:spPr>
        <p:txBody>
          <a:bodyPr anchor="b"/>
          <a:lstStyle>
            <a:lvl1pPr marL="0" indent="0">
              <a:buNone/>
              <a:defRPr lang="en-GB" sz="2800" kern="1200" dirty="0">
                <a:solidFill>
                  <a:schemeClr val="tx1"/>
                </a:solidFill>
                <a:latin typeface="Poppins SemiBold" panose="02000000000000000000" pitchFamily="2" charset="0"/>
                <a:ea typeface="+mn-ea"/>
                <a:cs typeface="Poppins SemiBold"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Welcome message</a:t>
            </a:r>
            <a:endParaRPr lang="en-GB" dirty="0"/>
          </a:p>
        </p:txBody>
      </p:sp>
      <p:sp>
        <p:nvSpPr>
          <p:cNvPr id="13" name="Text Placeholder 9">
            <a:extLst>
              <a:ext uri="{FF2B5EF4-FFF2-40B4-BE49-F238E27FC236}">
                <a16:creationId xmlns:a16="http://schemas.microsoft.com/office/drawing/2014/main" id="{1330728E-CCE2-49A6-BF72-C9DC5C2E8A97}"/>
              </a:ext>
            </a:extLst>
          </p:cNvPr>
          <p:cNvSpPr>
            <a:spLocks noGrp="1"/>
          </p:cNvSpPr>
          <p:nvPr>
            <p:ph type="body" sz="quarter" idx="12" hasCustomPrompt="1"/>
          </p:nvPr>
        </p:nvSpPr>
        <p:spPr>
          <a:xfrm>
            <a:off x="472355" y="3352799"/>
            <a:ext cx="6814270" cy="947738"/>
          </a:xfrm>
        </p:spPr>
        <p:txBody>
          <a:bodyPr anchor="t"/>
          <a:lstStyle>
            <a:lvl1pPr marL="0" indent="0">
              <a:lnSpc>
                <a:spcPct val="125000"/>
              </a:lnSpc>
              <a:buNone/>
              <a:defRPr lang="en-GB" sz="2000" kern="1200" dirty="0">
                <a:solidFill>
                  <a:schemeClr val="tx1"/>
                </a:solidFill>
                <a:latin typeface="Poppins" panose="02000000000000000000" pitchFamily="2" charset="0"/>
                <a:ea typeface="+mn-ea"/>
                <a:cs typeface="Poppins"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marL="0" lvl="0" indent="0" algn="l" defTabSz="914400" rtl="0" eaLnBrk="1" latinLnBrk="0" hangingPunct="1">
              <a:lnSpc>
                <a:spcPct val="105000"/>
              </a:lnSpc>
              <a:spcBef>
                <a:spcPts val="1000"/>
              </a:spcBef>
              <a:buFont typeface="Wingdings 2" panose="05020102010507070707" pitchFamily="18" charset="2"/>
              <a:buNone/>
            </a:pPr>
            <a:r>
              <a:rPr lang="en-US" dirty="0"/>
              <a:t>Intro text</a:t>
            </a:r>
            <a:endParaRPr lang="en-GB" dirty="0"/>
          </a:p>
        </p:txBody>
      </p:sp>
      <p:sp>
        <p:nvSpPr>
          <p:cNvPr id="14" name="Slide Number Placeholder 5">
            <a:extLst>
              <a:ext uri="{FF2B5EF4-FFF2-40B4-BE49-F238E27FC236}">
                <a16:creationId xmlns:a16="http://schemas.microsoft.com/office/drawing/2014/main" id="{65D0E4C5-7D36-45F4-B3E1-95B4112FD1C6}"/>
              </a:ext>
            </a:extLst>
          </p:cNvPr>
          <p:cNvSpPr txBox="1">
            <a:spLocks/>
          </p:cNvSpPr>
          <p:nvPr userDrawn="1"/>
        </p:nvSpPr>
        <p:spPr>
          <a:xfrm>
            <a:off x="11387579"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Tree>
    <p:extLst>
      <p:ext uri="{BB962C8B-B14F-4D97-AF65-F5344CB8AC3E}">
        <p14:creationId xmlns:p14="http://schemas.microsoft.com/office/powerpoint/2010/main" val="35132789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9B1909-85AF-46E7-96DF-9463F73A0C89}"/>
              </a:ext>
            </a:extLst>
          </p:cNvPr>
          <p:cNvSpPr>
            <a:spLocks noGrp="1"/>
          </p:cNvSpPr>
          <p:nvPr>
            <p:ph type="title" hasCustomPrompt="1"/>
          </p:nvPr>
        </p:nvSpPr>
        <p:spPr/>
        <p:txBody>
          <a:bodyPr/>
          <a:lstStyle/>
          <a:p>
            <a:r>
              <a:rPr lang="en-US"/>
              <a:t>Click to edit title</a:t>
            </a:r>
            <a:endParaRPr lang="en-GB"/>
          </a:p>
        </p:txBody>
      </p:sp>
      <p:sp>
        <p:nvSpPr>
          <p:cNvPr id="3" name="Content Placeholder 2">
            <a:extLst>
              <a:ext uri="{FF2B5EF4-FFF2-40B4-BE49-F238E27FC236}">
                <a16:creationId xmlns:a16="http://schemas.microsoft.com/office/drawing/2014/main" id="{9819FF05-8C2F-4B95-B404-18ECCEB5DC5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8DD8A7A-DD45-40EA-B659-082A74BD03AE}"/>
              </a:ext>
            </a:extLst>
          </p:cNvPr>
          <p:cNvSpPr>
            <a:spLocks noGrp="1"/>
          </p:cNvSpPr>
          <p:nvPr>
            <p:ph type="dt" sz="half" idx="10"/>
          </p:nvPr>
        </p:nvSpPr>
        <p:spPr/>
        <p:txBody>
          <a:bodyPr/>
          <a:lstStyle/>
          <a:p>
            <a:fld id="{81E737A2-2E9C-45B0-9CFA-1376F8C7F9AF}" type="datetime6">
              <a:rPr lang="en-GB" smtClean="0"/>
              <a:t>November 21</a:t>
            </a:fld>
            <a:endParaRPr lang="en-GB"/>
          </a:p>
        </p:txBody>
      </p:sp>
      <p:sp>
        <p:nvSpPr>
          <p:cNvPr id="5" name="Footer Placeholder 4">
            <a:extLst>
              <a:ext uri="{FF2B5EF4-FFF2-40B4-BE49-F238E27FC236}">
                <a16:creationId xmlns:a16="http://schemas.microsoft.com/office/drawing/2014/main" id="{2B26B459-2D50-458C-80B5-1C26A9F846A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7B39F04-CB9E-4BA9-A6F4-71189717EB3D}"/>
              </a:ext>
            </a:extLst>
          </p:cNvPr>
          <p:cNvSpPr>
            <a:spLocks noGrp="1"/>
          </p:cNvSpPr>
          <p:nvPr>
            <p:ph type="sldNum" sz="quarter" idx="12"/>
          </p:nvPr>
        </p:nvSpPr>
        <p:spPr/>
        <p:txBody>
          <a:bodyPr/>
          <a:lstStyle/>
          <a:p>
            <a:fld id="{F4186869-B628-4395-96ED-AD53145CB3D4}" type="slidenum">
              <a:rPr lang="en-GB" smtClean="0"/>
              <a:t>‹#›</a:t>
            </a:fld>
            <a:endParaRPr lang="en-GB"/>
          </a:p>
        </p:txBody>
      </p:sp>
      <p:cxnSp>
        <p:nvCxnSpPr>
          <p:cNvPr id="7" name="Straight Connector 6">
            <a:extLst>
              <a:ext uri="{FF2B5EF4-FFF2-40B4-BE49-F238E27FC236}">
                <a16:creationId xmlns:a16="http://schemas.microsoft.com/office/drawing/2014/main" id="{CC326961-0939-4F2E-BB71-14A4F6F1BC45}"/>
              </a:ext>
            </a:extLst>
          </p:cNvPr>
          <p:cNvCxnSpPr/>
          <p:nvPr userDrawn="1"/>
        </p:nvCxnSpPr>
        <p:spPr>
          <a:xfrm>
            <a:off x="719400" y="1389854"/>
            <a:ext cx="107532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33" name="Picture 32" descr="A picture containing clock, meter&#10;&#10;Description automatically generated">
            <a:extLst>
              <a:ext uri="{FF2B5EF4-FFF2-40B4-BE49-F238E27FC236}">
                <a16:creationId xmlns:a16="http://schemas.microsoft.com/office/drawing/2014/main" id="{D34D15FA-9DB3-473D-BAD8-6CB61DC621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39476" y="743133"/>
            <a:ext cx="2686047" cy="339724"/>
          </a:xfrm>
          <a:prstGeom prst="rect">
            <a:avLst/>
          </a:prstGeom>
        </p:spPr>
      </p:pic>
    </p:spTree>
    <p:extLst>
      <p:ext uri="{BB962C8B-B14F-4D97-AF65-F5344CB8AC3E}">
        <p14:creationId xmlns:p14="http://schemas.microsoft.com/office/powerpoint/2010/main" val="102938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s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1E5ADEC-E127-419F-A280-E5C4222E2B3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
            <a:ext cx="12192000" cy="6868136"/>
          </a:xfrm>
          <a:prstGeom prst="rect">
            <a:avLst/>
          </a:prstGeom>
        </p:spPr>
      </p:pic>
      <p:sp>
        <p:nvSpPr>
          <p:cNvPr id="5" name="Slide Number Placeholder 5">
            <a:extLst>
              <a:ext uri="{FF2B5EF4-FFF2-40B4-BE49-F238E27FC236}">
                <a16:creationId xmlns:a16="http://schemas.microsoft.com/office/drawing/2014/main" id="{F58BACA4-09F8-4DB1-8B64-D9DBE49FAD79}"/>
              </a:ext>
            </a:extLst>
          </p:cNvPr>
          <p:cNvSpPr txBox="1">
            <a:spLocks/>
          </p:cNvSpPr>
          <p:nvPr userDrawn="1"/>
        </p:nvSpPr>
        <p:spPr>
          <a:xfrm>
            <a:off x="11387579"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
        <p:nvSpPr>
          <p:cNvPr id="7" name="TextBox 6">
            <a:extLst>
              <a:ext uri="{FF2B5EF4-FFF2-40B4-BE49-F238E27FC236}">
                <a16:creationId xmlns:a16="http://schemas.microsoft.com/office/drawing/2014/main" id="{51E0042B-1C8B-4A3E-9E6E-E4C9DBB09E41}"/>
              </a:ext>
            </a:extLst>
          </p:cNvPr>
          <p:cNvSpPr txBox="1"/>
          <p:nvPr userDrawn="1"/>
        </p:nvSpPr>
        <p:spPr>
          <a:xfrm>
            <a:off x="374251" y="416758"/>
            <a:ext cx="3562350" cy="490904"/>
          </a:xfrm>
          <a:prstGeom prst="rect">
            <a:avLst/>
          </a:prstGeom>
          <a:noFill/>
        </p:spPr>
        <p:txBody>
          <a:bodyPr wrap="square" rtlCol="0">
            <a:spAutoFit/>
          </a:bodyPr>
          <a:lstStyle/>
          <a:p>
            <a:pPr algn="l" defTabSz="914400" rtl="0" eaLnBrk="1" latinLnBrk="0" hangingPunct="1">
              <a:lnSpc>
                <a:spcPct val="90000"/>
              </a:lnSpc>
              <a:spcBef>
                <a:spcPct val="0"/>
              </a:spcBef>
              <a:buNone/>
            </a:pPr>
            <a:r>
              <a:rPr lang="en-GB" sz="2800" kern="1200" dirty="0">
                <a:solidFill>
                  <a:schemeClr val="tx1"/>
                </a:solidFill>
                <a:latin typeface="Poppins SemiBold" panose="02000000000000000000" pitchFamily="2" charset="0"/>
                <a:ea typeface="+mj-ea"/>
                <a:cs typeface="Poppins SemiBold" panose="02000000000000000000" pitchFamily="2" charset="0"/>
              </a:rPr>
              <a:t>Contents</a:t>
            </a:r>
          </a:p>
        </p:txBody>
      </p:sp>
      <p:sp>
        <p:nvSpPr>
          <p:cNvPr id="10" name="Text Placeholder 9">
            <a:extLst>
              <a:ext uri="{FF2B5EF4-FFF2-40B4-BE49-F238E27FC236}">
                <a16:creationId xmlns:a16="http://schemas.microsoft.com/office/drawing/2014/main" id="{45F03983-1BAE-417E-9BA3-2B5A03F750CE}"/>
              </a:ext>
            </a:extLst>
          </p:cNvPr>
          <p:cNvSpPr>
            <a:spLocks noGrp="1"/>
          </p:cNvSpPr>
          <p:nvPr>
            <p:ph type="body" sz="quarter" idx="13" hasCustomPrompt="1"/>
          </p:nvPr>
        </p:nvSpPr>
        <p:spPr>
          <a:xfrm>
            <a:off x="466724" y="1841500"/>
            <a:ext cx="9286875" cy="4178300"/>
          </a:xfrm>
        </p:spPr>
        <p:txBody>
          <a:bodyPr/>
          <a:lstStyle>
            <a:lvl1pPr marL="266700" indent="-266700">
              <a:buFont typeface="+mj-lt"/>
              <a:buAutoNum type="arabicPeriod"/>
              <a:defRPr>
                <a:latin typeface="Poppins Light" panose="02000000000000000000" pitchFamily="2" charset="0"/>
                <a:cs typeface="Poppins Light" panose="02000000000000000000" pitchFamily="2" charset="0"/>
              </a:defRPr>
            </a:lvl1pPr>
            <a:lvl2pPr marL="703263" indent="-457200">
              <a:buFont typeface="+mj-lt"/>
              <a:buAutoNum type="arabicPeriod"/>
              <a:defRPr>
                <a:latin typeface="Poppins Light" panose="02000000000000000000" pitchFamily="2" charset="0"/>
                <a:cs typeface="Poppins Light" panose="02000000000000000000" pitchFamily="2" charset="0"/>
              </a:defRPr>
            </a:lvl2pPr>
            <a:lvl3pPr marL="974725" indent="-457200">
              <a:buFont typeface="+mj-lt"/>
              <a:buAutoNum type="arabicPeriod"/>
              <a:defRPr>
                <a:latin typeface="Poppins Light" panose="02000000000000000000" pitchFamily="2" charset="0"/>
                <a:cs typeface="Poppins Light" panose="02000000000000000000" pitchFamily="2" charset="0"/>
              </a:defRPr>
            </a:lvl3pPr>
            <a:lvl4pPr marL="1220788" indent="-457200">
              <a:buFont typeface="+mj-lt"/>
              <a:buAutoNum type="arabicPeriod"/>
              <a:defRPr>
                <a:latin typeface="Poppins Light" panose="02000000000000000000" pitchFamily="2" charset="0"/>
                <a:cs typeface="Poppins Light" panose="02000000000000000000" pitchFamily="2" charset="0"/>
              </a:defRPr>
            </a:lvl4pPr>
            <a:lvl5pPr marL="1514475" indent="-457200">
              <a:buFont typeface="+mj-lt"/>
              <a:buAutoNum type="arabicPeriod"/>
              <a:defRPr>
                <a:latin typeface="Poppins Light" panose="02000000000000000000" pitchFamily="2" charset="0"/>
                <a:cs typeface="Poppins Light" panose="02000000000000000000" pitchFamily="2" charset="0"/>
              </a:defRPr>
            </a:lvl5pPr>
          </a:lstStyle>
          <a:p>
            <a:pPr lvl="0"/>
            <a:r>
              <a:rPr lang="en-US" dirty="0"/>
              <a:t>First chapter</a:t>
            </a:r>
            <a:endParaRPr lang="en-GB" dirty="0"/>
          </a:p>
        </p:txBody>
      </p:sp>
    </p:spTree>
    <p:extLst>
      <p:ext uri="{BB962C8B-B14F-4D97-AF65-F5344CB8AC3E}">
        <p14:creationId xmlns:p14="http://schemas.microsoft.com/office/powerpoint/2010/main" val="350847364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py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BE085FCD-5D45-4D4A-A910-A60777AC0BE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750628" y="5152571"/>
            <a:ext cx="4441371" cy="1702866"/>
          </a:xfrm>
          <a:prstGeom prst="rect">
            <a:avLst/>
          </a:prstGeom>
        </p:spPr>
      </p:pic>
      <p:sp>
        <p:nvSpPr>
          <p:cNvPr id="2" name="Title 1">
            <a:extLst>
              <a:ext uri="{FF2B5EF4-FFF2-40B4-BE49-F238E27FC236}">
                <a16:creationId xmlns:a16="http://schemas.microsoft.com/office/drawing/2014/main" id="{086B2ED4-0683-4869-85D3-EDA0DE8E01EB}"/>
              </a:ext>
            </a:extLst>
          </p:cNvPr>
          <p:cNvSpPr>
            <a:spLocks noGrp="1"/>
          </p:cNvSpPr>
          <p:nvPr>
            <p:ph type="title" hasCustomPrompt="1"/>
          </p:nvPr>
        </p:nvSpPr>
        <p:spPr>
          <a:xfrm>
            <a:off x="460217" y="25399"/>
            <a:ext cx="8861583" cy="831103"/>
          </a:xfrm>
        </p:spPr>
        <p:txBody>
          <a:bodyPr/>
          <a:lstStyle>
            <a:lvl1pPr>
              <a:defRPr>
                <a:solidFill>
                  <a:schemeClr val="tx1"/>
                </a:solidFill>
              </a:defRPr>
            </a:lvl1pPr>
          </a:lstStyle>
          <a:p>
            <a:r>
              <a:rPr lang="en-US" dirty="0"/>
              <a:t>Copy slide</a:t>
            </a:r>
            <a:endParaRPr lang="en-GB" dirty="0"/>
          </a:p>
        </p:txBody>
      </p:sp>
      <p:sp>
        <p:nvSpPr>
          <p:cNvPr id="10" name="Slide Number Placeholder 5">
            <a:extLst>
              <a:ext uri="{FF2B5EF4-FFF2-40B4-BE49-F238E27FC236}">
                <a16:creationId xmlns:a16="http://schemas.microsoft.com/office/drawing/2014/main" id="{5C517DD7-9B52-4C3D-93EC-7DF500CB37F5}"/>
              </a:ext>
            </a:extLst>
          </p:cNvPr>
          <p:cNvSpPr txBox="1">
            <a:spLocks/>
          </p:cNvSpPr>
          <p:nvPr userDrawn="1"/>
        </p:nvSpPr>
        <p:spPr>
          <a:xfrm>
            <a:off x="11387579" y="6472153"/>
            <a:ext cx="341983" cy="211451"/>
          </a:xfrm>
          <a:prstGeom prst="rect">
            <a:avLst/>
          </a:prstGeom>
          <a:noFill/>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
        <p:nvSpPr>
          <p:cNvPr id="15" name="Text Placeholder 9">
            <a:extLst>
              <a:ext uri="{FF2B5EF4-FFF2-40B4-BE49-F238E27FC236}">
                <a16:creationId xmlns:a16="http://schemas.microsoft.com/office/drawing/2014/main" id="{257988F4-7951-43F6-8543-39FB2E2B33D7}"/>
              </a:ext>
            </a:extLst>
          </p:cNvPr>
          <p:cNvSpPr>
            <a:spLocks noGrp="1"/>
          </p:cNvSpPr>
          <p:nvPr>
            <p:ph type="body" sz="quarter" idx="13" hasCustomPrompt="1"/>
          </p:nvPr>
        </p:nvSpPr>
        <p:spPr>
          <a:xfrm>
            <a:off x="472354" y="1804874"/>
            <a:ext cx="8870691" cy="947738"/>
          </a:xfrm>
        </p:spPr>
        <p:txBody>
          <a:bodyPr anchor="t"/>
          <a:lstStyle>
            <a:lvl1pPr marL="0" indent="0">
              <a:buNone/>
              <a:defRPr lang="en-GB" sz="2000" kern="1200" dirty="0">
                <a:solidFill>
                  <a:schemeClr val="tx1"/>
                </a:solidFill>
                <a:latin typeface="Poppins Medium" panose="02000000000000000000" pitchFamily="2" charset="0"/>
                <a:ea typeface="+mn-ea"/>
                <a:cs typeface="Poppins Medium"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Intro paragraph over 2 lines. Lorem ipsum dolor sit </a:t>
            </a:r>
            <a:r>
              <a:rPr lang="en-US" dirty="0" err="1"/>
              <a:t>amet</a:t>
            </a:r>
            <a:r>
              <a:rPr lang="en-US" dirty="0"/>
              <a:t>, do </a:t>
            </a:r>
            <a:r>
              <a:rPr lang="en-US" dirty="0" err="1"/>
              <a:t>eiusmod</a:t>
            </a:r>
            <a:r>
              <a:rPr lang="en-US" dirty="0"/>
              <a:t> </a:t>
            </a:r>
            <a:r>
              <a:rPr lang="en-US" dirty="0" err="1"/>
              <a:t>ut</a:t>
            </a:r>
            <a:r>
              <a:rPr lang="en-US" dirty="0"/>
              <a:t> </a:t>
            </a:r>
            <a:r>
              <a:rPr lang="en-US" dirty="0" err="1"/>
              <a:t>labore</a:t>
            </a:r>
            <a:r>
              <a:rPr lang="en-US" dirty="0"/>
              <a:t> et dolore magna.</a:t>
            </a:r>
            <a:endParaRPr lang="en-GB" dirty="0"/>
          </a:p>
        </p:txBody>
      </p:sp>
      <p:sp>
        <p:nvSpPr>
          <p:cNvPr id="16" name="Text Placeholder 9">
            <a:extLst>
              <a:ext uri="{FF2B5EF4-FFF2-40B4-BE49-F238E27FC236}">
                <a16:creationId xmlns:a16="http://schemas.microsoft.com/office/drawing/2014/main" id="{2AD193AA-A4C9-47A8-ADB8-A66F57036439}"/>
              </a:ext>
            </a:extLst>
          </p:cNvPr>
          <p:cNvSpPr>
            <a:spLocks noGrp="1"/>
          </p:cNvSpPr>
          <p:nvPr>
            <p:ph type="body" sz="quarter" idx="14" hasCustomPrompt="1"/>
          </p:nvPr>
        </p:nvSpPr>
        <p:spPr>
          <a:xfrm>
            <a:off x="472354" y="2769444"/>
            <a:ext cx="8870692" cy="3185482"/>
          </a:xfrm>
        </p:spPr>
        <p:txBody>
          <a:bodyPr anchor="t"/>
          <a:lstStyle>
            <a:lvl1pPr marL="0" indent="0">
              <a:buNone/>
              <a:defRPr lang="en-GB" sz="1800" kern="1200" dirty="0">
                <a:solidFill>
                  <a:schemeClr val="tx1"/>
                </a:solidFill>
                <a:latin typeface="Poppins Light" panose="02000000000000000000" pitchFamily="2" charset="0"/>
                <a:ea typeface="+mn-ea"/>
                <a:cs typeface="Poppins Light"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non </a:t>
            </a:r>
            <a:r>
              <a:rPr lang="en-US" dirty="0" err="1"/>
              <a:t>proident</a:t>
            </a:r>
            <a:r>
              <a:rPr lang="en-US" dirty="0"/>
              <a:t>, sunt in culpa qui official.</a:t>
            </a:r>
            <a:endParaRPr lang="en-GB" dirty="0"/>
          </a:p>
        </p:txBody>
      </p:sp>
      <p:sp>
        <p:nvSpPr>
          <p:cNvPr id="8" name="Text Placeholder 9">
            <a:extLst>
              <a:ext uri="{FF2B5EF4-FFF2-40B4-BE49-F238E27FC236}">
                <a16:creationId xmlns:a16="http://schemas.microsoft.com/office/drawing/2014/main" id="{55D58C01-3B17-4846-BD83-EC99A27B9008}"/>
              </a:ext>
            </a:extLst>
          </p:cNvPr>
          <p:cNvSpPr>
            <a:spLocks noGrp="1"/>
          </p:cNvSpPr>
          <p:nvPr>
            <p:ph type="body" sz="quarter" idx="12" hasCustomPrompt="1"/>
          </p:nvPr>
        </p:nvSpPr>
        <p:spPr>
          <a:xfrm>
            <a:off x="463808" y="903074"/>
            <a:ext cx="8870691" cy="729174"/>
          </a:xfrm>
        </p:spPr>
        <p:txBody>
          <a:bodyPr anchor="t"/>
          <a:lstStyle>
            <a:lvl1pPr marL="0" indent="0">
              <a:lnSpc>
                <a:spcPct val="125000"/>
              </a:lnSpc>
              <a:buNone/>
              <a:defRPr lang="en-GB" sz="1900" kern="1200" dirty="0">
                <a:solidFill>
                  <a:schemeClr val="tx1"/>
                </a:solidFill>
                <a:latin typeface="Poppins Medium" panose="02000000000000000000" pitchFamily="2" charset="0"/>
                <a:ea typeface="+mn-ea"/>
                <a:cs typeface="Poppins Medium"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marL="0" lvl="0" indent="0" algn="l" defTabSz="914400" rtl="0" eaLnBrk="1" latinLnBrk="0" hangingPunct="1">
              <a:lnSpc>
                <a:spcPct val="105000"/>
              </a:lnSpc>
              <a:spcBef>
                <a:spcPts val="1000"/>
              </a:spcBef>
              <a:buFont typeface="Wingdings 2" panose="05020102010507070707" pitchFamily="18" charset="2"/>
              <a:buNone/>
            </a:pPr>
            <a:r>
              <a:rPr lang="en-US" dirty="0"/>
              <a:t>Sub-heading</a:t>
            </a:r>
            <a:endParaRPr lang="en-GB" dirty="0"/>
          </a:p>
        </p:txBody>
      </p:sp>
    </p:spTree>
    <p:extLst>
      <p:ext uri="{BB962C8B-B14F-4D97-AF65-F5344CB8AC3E}">
        <p14:creationId xmlns:p14="http://schemas.microsoft.com/office/powerpoint/2010/main" val="258092759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py Slide v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1E5ADEC-E127-419F-A280-E5C4222E2B3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
            <a:ext cx="12192000" cy="6868136"/>
          </a:xfrm>
          <a:prstGeom prst="rect">
            <a:avLst/>
          </a:prstGeom>
        </p:spPr>
      </p:pic>
      <p:sp>
        <p:nvSpPr>
          <p:cNvPr id="5" name="Slide Number Placeholder 5">
            <a:extLst>
              <a:ext uri="{FF2B5EF4-FFF2-40B4-BE49-F238E27FC236}">
                <a16:creationId xmlns:a16="http://schemas.microsoft.com/office/drawing/2014/main" id="{F58BACA4-09F8-4DB1-8B64-D9DBE49FAD79}"/>
              </a:ext>
            </a:extLst>
          </p:cNvPr>
          <p:cNvSpPr txBox="1">
            <a:spLocks/>
          </p:cNvSpPr>
          <p:nvPr userDrawn="1"/>
        </p:nvSpPr>
        <p:spPr>
          <a:xfrm>
            <a:off x="11387579"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
        <p:nvSpPr>
          <p:cNvPr id="9" name="Title 1">
            <a:extLst>
              <a:ext uri="{FF2B5EF4-FFF2-40B4-BE49-F238E27FC236}">
                <a16:creationId xmlns:a16="http://schemas.microsoft.com/office/drawing/2014/main" id="{F1FCFB85-7EFE-467F-9266-FA018755DD71}"/>
              </a:ext>
            </a:extLst>
          </p:cNvPr>
          <p:cNvSpPr>
            <a:spLocks noGrp="1"/>
          </p:cNvSpPr>
          <p:nvPr>
            <p:ph type="title" hasCustomPrompt="1"/>
          </p:nvPr>
        </p:nvSpPr>
        <p:spPr>
          <a:xfrm>
            <a:off x="460217" y="25399"/>
            <a:ext cx="8861583" cy="831103"/>
          </a:xfrm>
        </p:spPr>
        <p:txBody>
          <a:bodyPr/>
          <a:lstStyle>
            <a:lvl1pPr>
              <a:defRPr>
                <a:solidFill>
                  <a:schemeClr val="tx1"/>
                </a:solidFill>
              </a:defRPr>
            </a:lvl1pPr>
          </a:lstStyle>
          <a:p>
            <a:r>
              <a:rPr lang="en-US" dirty="0"/>
              <a:t>Copy slide</a:t>
            </a:r>
            <a:endParaRPr lang="en-GB" dirty="0"/>
          </a:p>
        </p:txBody>
      </p:sp>
      <p:sp>
        <p:nvSpPr>
          <p:cNvPr id="11" name="Text Placeholder 9">
            <a:extLst>
              <a:ext uri="{FF2B5EF4-FFF2-40B4-BE49-F238E27FC236}">
                <a16:creationId xmlns:a16="http://schemas.microsoft.com/office/drawing/2014/main" id="{421D7166-FD5F-4100-9CAC-9A68D0F63270}"/>
              </a:ext>
            </a:extLst>
          </p:cNvPr>
          <p:cNvSpPr>
            <a:spLocks noGrp="1"/>
          </p:cNvSpPr>
          <p:nvPr>
            <p:ph type="body" sz="quarter" idx="12" hasCustomPrompt="1"/>
          </p:nvPr>
        </p:nvSpPr>
        <p:spPr>
          <a:xfrm>
            <a:off x="463808" y="903074"/>
            <a:ext cx="8870691" cy="729174"/>
          </a:xfrm>
        </p:spPr>
        <p:txBody>
          <a:bodyPr anchor="t"/>
          <a:lstStyle>
            <a:lvl1pPr marL="0" indent="0">
              <a:buNone/>
              <a:defRPr lang="en-GB" sz="1900" kern="1200" dirty="0">
                <a:solidFill>
                  <a:schemeClr val="tx1"/>
                </a:solidFill>
                <a:latin typeface="Poppins Medium" panose="02000000000000000000" pitchFamily="2" charset="0"/>
                <a:ea typeface="+mn-ea"/>
                <a:cs typeface="Poppins Medium"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marL="0" lvl="0" indent="0" algn="l" defTabSz="914400" rtl="0" eaLnBrk="1" latinLnBrk="0" hangingPunct="1">
              <a:lnSpc>
                <a:spcPct val="105000"/>
              </a:lnSpc>
              <a:spcBef>
                <a:spcPts val="1000"/>
              </a:spcBef>
              <a:buFont typeface="Wingdings 2" panose="05020102010507070707" pitchFamily="18" charset="2"/>
              <a:buNone/>
            </a:pPr>
            <a:r>
              <a:rPr lang="en-US" dirty="0"/>
              <a:t>Sub-heading</a:t>
            </a:r>
            <a:endParaRPr lang="en-GB" dirty="0"/>
          </a:p>
        </p:txBody>
      </p:sp>
      <p:sp>
        <p:nvSpPr>
          <p:cNvPr id="12" name="Text Placeholder 9">
            <a:extLst>
              <a:ext uri="{FF2B5EF4-FFF2-40B4-BE49-F238E27FC236}">
                <a16:creationId xmlns:a16="http://schemas.microsoft.com/office/drawing/2014/main" id="{8901880E-8A9D-4AE3-9136-1DA35B747D1C}"/>
              </a:ext>
            </a:extLst>
          </p:cNvPr>
          <p:cNvSpPr>
            <a:spLocks noGrp="1"/>
          </p:cNvSpPr>
          <p:nvPr>
            <p:ph type="body" sz="quarter" idx="13" hasCustomPrompt="1"/>
          </p:nvPr>
        </p:nvSpPr>
        <p:spPr>
          <a:xfrm>
            <a:off x="472354" y="1804874"/>
            <a:ext cx="8849446" cy="947738"/>
          </a:xfrm>
        </p:spPr>
        <p:txBody>
          <a:bodyPr anchor="t"/>
          <a:lstStyle>
            <a:lvl1pPr marL="0" indent="0">
              <a:buNone/>
              <a:defRPr lang="en-GB" sz="2000" kern="1200" dirty="0">
                <a:solidFill>
                  <a:schemeClr val="tx1"/>
                </a:solidFill>
                <a:latin typeface="Poppins Medium" panose="02000000000000000000" pitchFamily="2" charset="0"/>
                <a:ea typeface="+mn-ea"/>
                <a:cs typeface="Poppins Medium"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Intro paragraph over 2 lines. Lorem ipsum dolor sit </a:t>
            </a:r>
            <a:r>
              <a:rPr lang="en-US" dirty="0" err="1"/>
              <a:t>amet</a:t>
            </a:r>
            <a:r>
              <a:rPr lang="en-US" dirty="0"/>
              <a:t>, do </a:t>
            </a:r>
            <a:r>
              <a:rPr lang="en-US" dirty="0" err="1"/>
              <a:t>eiusmod</a:t>
            </a:r>
            <a:r>
              <a:rPr lang="en-US" dirty="0"/>
              <a:t> </a:t>
            </a:r>
            <a:r>
              <a:rPr lang="en-US" dirty="0" err="1"/>
              <a:t>ut</a:t>
            </a:r>
            <a:r>
              <a:rPr lang="en-US" dirty="0"/>
              <a:t> </a:t>
            </a:r>
            <a:r>
              <a:rPr lang="en-US" dirty="0" err="1"/>
              <a:t>labore</a:t>
            </a:r>
            <a:r>
              <a:rPr lang="en-US" dirty="0"/>
              <a:t> et dolore magna.</a:t>
            </a:r>
            <a:endParaRPr lang="en-GB" dirty="0"/>
          </a:p>
        </p:txBody>
      </p:sp>
      <p:sp>
        <p:nvSpPr>
          <p:cNvPr id="13" name="Text Placeholder 9">
            <a:extLst>
              <a:ext uri="{FF2B5EF4-FFF2-40B4-BE49-F238E27FC236}">
                <a16:creationId xmlns:a16="http://schemas.microsoft.com/office/drawing/2014/main" id="{C29C0D83-8C58-4C5C-A6A6-8C3AAD0D7F1C}"/>
              </a:ext>
            </a:extLst>
          </p:cNvPr>
          <p:cNvSpPr>
            <a:spLocks noGrp="1"/>
          </p:cNvSpPr>
          <p:nvPr>
            <p:ph type="body" sz="quarter" idx="14" hasCustomPrompt="1"/>
          </p:nvPr>
        </p:nvSpPr>
        <p:spPr>
          <a:xfrm>
            <a:off x="472354" y="2752612"/>
            <a:ext cx="8849446" cy="2792782"/>
          </a:xfrm>
        </p:spPr>
        <p:txBody>
          <a:bodyPr anchor="t"/>
          <a:lstStyle>
            <a:lvl1pPr marL="0" indent="0">
              <a:buNone/>
              <a:defRPr lang="en-GB" sz="1800" kern="1200" dirty="0">
                <a:solidFill>
                  <a:schemeClr val="tx1"/>
                </a:solidFill>
                <a:latin typeface="Poppins Light" panose="02000000000000000000" pitchFamily="2" charset="0"/>
                <a:ea typeface="+mn-ea"/>
                <a:cs typeface="Poppins Light"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non </a:t>
            </a:r>
            <a:r>
              <a:rPr lang="en-US" dirty="0" err="1"/>
              <a:t>proident</a:t>
            </a:r>
            <a:r>
              <a:rPr lang="en-US" dirty="0"/>
              <a:t>, sunt in culpa qui official.</a:t>
            </a:r>
            <a:endParaRPr lang="en-GB" dirty="0"/>
          </a:p>
        </p:txBody>
      </p:sp>
    </p:spTree>
    <p:extLst>
      <p:ext uri="{BB962C8B-B14F-4D97-AF65-F5344CB8AC3E}">
        <p14:creationId xmlns:p14="http://schemas.microsoft.com/office/powerpoint/2010/main" val="188821963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ullets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6B2ED4-0683-4869-85D3-EDA0DE8E01EB}"/>
              </a:ext>
            </a:extLst>
          </p:cNvPr>
          <p:cNvSpPr>
            <a:spLocks noGrp="1"/>
          </p:cNvSpPr>
          <p:nvPr>
            <p:ph type="title" hasCustomPrompt="1"/>
          </p:nvPr>
        </p:nvSpPr>
        <p:spPr>
          <a:xfrm>
            <a:off x="472917" y="-10613"/>
            <a:ext cx="8861583" cy="852602"/>
          </a:xfrm>
        </p:spPr>
        <p:txBody>
          <a:bodyPr/>
          <a:lstStyle>
            <a:lvl1pPr>
              <a:defRPr>
                <a:solidFill>
                  <a:schemeClr val="tx1"/>
                </a:solidFill>
              </a:defRPr>
            </a:lvl1pPr>
          </a:lstStyle>
          <a:p>
            <a:r>
              <a:rPr lang="en-US" dirty="0"/>
              <a:t>Bullets slide</a:t>
            </a:r>
            <a:endParaRPr lang="en-GB" dirty="0"/>
          </a:p>
        </p:txBody>
      </p:sp>
      <p:sp>
        <p:nvSpPr>
          <p:cNvPr id="3" name="Content Placeholder 2">
            <a:extLst>
              <a:ext uri="{FF2B5EF4-FFF2-40B4-BE49-F238E27FC236}">
                <a16:creationId xmlns:a16="http://schemas.microsoft.com/office/drawing/2014/main" id="{554F0A75-3481-44BF-B53C-CF96990D8914}"/>
              </a:ext>
            </a:extLst>
          </p:cNvPr>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Slide Number Placeholder 5">
            <a:extLst>
              <a:ext uri="{FF2B5EF4-FFF2-40B4-BE49-F238E27FC236}">
                <a16:creationId xmlns:a16="http://schemas.microsoft.com/office/drawing/2014/main" id="{F58BACA4-09F8-4DB1-8B64-D9DBE49FAD79}"/>
              </a:ext>
            </a:extLst>
          </p:cNvPr>
          <p:cNvSpPr txBox="1">
            <a:spLocks/>
          </p:cNvSpPr>
          <p:nvPr userDrawn="1"/>
        </p:nvSpPr>
        <p:spPr>
          <a:xfrm>
            <a:off x="11387579"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olidFill>
                  <a:schemeClr val="tx1"/>
                </a:solidFill>
                <a:sym typeface="Symbol" panose="05050102010706020507" pitchFamily="18" charset="2"/>
              </a:rPr>
              <a:t> </a:t>
            </a:r>
            <a:fld id="{985D5D71-2132-4A0D-A457-AC01235D778F}" type="slidenum">
              <a:rPr lang="en-GB" sz="800" kern="1200" smtClean="0">
                <a:solidFill>
                  <a:schemeClr val="tx1"/>
                </a:solidFill>
                <a:latin typeface="Poppins Medium" panose="02000000000000000000" pitchFamily="2" charset="0"/>
                <a:ea typeface="+mn-ea"/>
                <a:cs typeface="Poppins Medium" panose="02000000000000000000" pitchFamily="2" charset="0"/>
              </a:rPr>
              <a:pPr/>
              <a:t>‹#›</a:t>
            </a:fld>
            <a:endParaRPr lang="en-GB" sz="800" kern="1200" dirty="0">
              <a:solidFill>
                <a:schemeClr val="tx1"/>
              </a:solidFill>
              <a:latin typeface="Poppins Medium" panose="02000000000000000000" pitchFamily="2" charset="0"/>
              <a:ea typeface="+mn-ea"/>
              <a:cs typeface="Poppins Medium" panose="02000000000000000000" pitchFamily="2" charset="0"/>
            </a:endParaRPr>
          </a:p>
        </p:txBody>
      </p:sp>
      <p:sp>
        <p:nvSpPr>
          <p:cNvPr id="6" name="Text Placeholder 9">
            <a:extLst>
              <a:ext uri="{FF2B5EF4-FFF2-40B4-BE49-F238E27FC236}">
                <a16:creationId xmlns:a16="http://schemas.microsoft.com/office/drawing/2014/main" id="{88F907B6-2DC0-45A8-9E87-3681881B74CC}"/>
              </a:ext>
            </a:extLst>
          </p:cNvPr>
          <p:cNvSpPr>
            <a:spLocks noGrp="1"/>
          </p:cNvSpPr>
          <p:nvPr>
            <p:ph type="body" sz="quarter" idx="12" hasCustomPrompt="1"/>
          </p:nvPr>
        </p:nvSpPr>
        <p:spPr>
          <a:xfrm>
            <a:off x="463808" y="903074"/>
            <a:ext cx="8870691" cy="729174"/>
          </a:xfrm>
        </p:spPr>
        <p:txBody>
          <a:bodyPr anchor="t"/>
          <a:lstStyle>
            <a:lvl1pPr marL="0" indent="0">
              <a:buNone/>
              <a:defRPr lang="en-GB" sz="1900" kern="1200" dirty="0">
                <a:solidFill>
                  <a:schemeClr val="tx1"/>
                </a:solidFill>
                <a:latin typeface="Poppins Medium" panose="02000000000000000000" pitchFamily="2" charset="0"/>
                <a:ea typeface="+mn-ea"/>
                <a:cs typeface="Poppins Medium"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marL="0" lvl="0" indent="0" algn="l" defTabSz="914400" rtl="0" eaLnBrk="1" latinLnBrk="0" hangingPunct="1">
              <a:lnSpc>
                <a:spcPct val="105000"/>
              </a:lnSpc>
              <a:spcBef>
                <a:spcPts val="1000"/>
              </a:spcBef>
              <a:buFont typeface="Wingdings 2" panose="05020102010507070707" pitchFamily="18" charset="2"/>
              <a:buNone/>
            </a:pPr>
            <a:r>
              <a:rPr lang="en-US" dirty="0"/>
              <a:t>Sub-heading</a:t>
            </a:r>
            <a:endParaRPr lang="en-GB" dirty="0"/>
          </a:p>
        </p:txBody>
      </p:sp>
    </p:spTree>
    <p:extLst>
      <p:ext uri="{BB962C8B-B14F-4D97-AF65-F5344CB8AC3E}">
        <p14:creationId xmlns:p14="http://schemas.microsoft.com/office/powerpoint/2010/main" val="22352869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mage or diagram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6B2ED4-0683-4869-85D3-EDA0DE8E01EB}"/>
              </a:ext>
            </a:extLst>
          </p:cNvPr>
          <p:cNvSpPr>
            <a:spLocks noGrp="1"/>
          </p:cNvSpPr>
          <p:nvPr>
            <p:ph type="title" hasCustomPrompt="1"/>
          </p:nvPr>
        </p:nvSpPr>
        <p:spPr>
          <a:xfrm>
            <a:off x="472917" y="-10613"/>
            <a:ext cx="8861583" cy="852602"/>
          </a:xfrm>
        </p:spPr>
        <p:txBody>
          <a:bodyPr/>
          <a:lstStyle>
            <a:lvl1pPr>
              <a:defRPr>
                <a:solidFill>
                  <a:schemeClr val="tx1"/>
                </a:solidFill>
              </a:defRPr>
            </a:lvl1pPr>
          </a:lstStyle>
          <a:p>
            <a:r>
              <a:rPr lang="en-GB" dirty="0"/>
              <a:t>Image or diagram slide</a:t>
            </a:r>
          </a:p>
        </p:txBody>
      </p:sp>
      <p:sp>
        <p:nvSpPr>
          <p:cNvPr id="5" name="Slide Number Placeholder 5">
            <a:extLst>
              <a:ext uri="{FF2B5EF4-FFF2-40B4-BE49-F238E27FC236}">
                <a16:creationId xmlns:a16="http://schemas.microsoft.com/office/drawing/2014/main" id="{3EE08843-0DDD-4D7C-9AA4-5F3B9B2EC431}"/>
              </a:ext>
            </a:extLst>
          </p:cNvPr>
          <p:cNvSpPr txBox="1">
            <a:spLocks/>
          </p:cNvSpPr>
          <p:nvPr userDrawn="1"/>
        </p:nvSpPr>
        <p:spPr>
          <a:xfrm>
            <a:off x="11387579"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ym typeface="Symbol" panose="05050102010706020507" pitchFamily="18" charset="2"/>
              </a:rPr>
              <a:t> </a:t>
            </a:r>
            <a:fld id="{985D5D71-2132-4A0D-A457-AC01235D778F}" type="slidenum">
              <a:rPr lang="en-GB" sz="800" kern="1200" smtClean="0">
                <a:solidFill>
                  <a:schemeClr val="accent5"/>
                </a:solidFill>
                <a:latin typeface="Poppins Medium" panose="02000000000000000000" pitchFamily="2" charset="0"/>
                <a:ea typeface="+mn-ea"/>
                <a:cs typeface="Poppins Medium" panose="02000000000000000000" pitchFamily="2" charset="0"/>
              </a:rPr>
              <a:pPr/>
              <a:t>‹#›</a:t>
            </a:fld>
            <a:endParaRPr lang="en-GB" sz="800" kern="1200" dirty="0">
              <a:solidFill>
                <a:schemeClr val="accent5"/>
              </a:solidFill>
              <a:latin typeface="Poppins Medium" panose="02000000000000000000" pitchFamily="2" charset="0"/>
              <a:ea typeface="+mn-ea"/>
              <a:cs typeface="Poppins Medium" panose="02000000000000000000" pitchFamily="2" charset="0"/>
            </a:endParaRPr>
          </a:p>
        </p:txBody>
      </p:sp>
      <p:sp>
        <p:nvSpPr>
          <p:cNvPr id="7" name="Text Placeholder 9">
            <a:extLst>
              <a:ext uri="{FF2B5EF4-FFF2-40B4-BE49-F238E27FC236}">
                <a16:creationId xmlns:a16="http://schemas.microsoft.com/office/drawing/2014/main" id="{E8233D60-2A02-47E4-8EEA-09C359F461A5}"/>
              </a:ext>
            </a:extLst>
          </p:cNvPr>
          <p:cNvSpPr>
            <a:spLocks noGrp="1"/>
          </p:cNvSpPr>
          <p:nvPr>
            <p:ph type="body" sz="quarter" idx="12" hasCustomPrompt="1"/>
          </p:nvPr>
        </p:nvSpPr>
        <p:spPr>
          <a:xfrm>
            <a:off x="472355" y="1146570"/>
            <a:ext cx="6814270" cy="831103"/>
          </a:xfrm>
        </p:spPr>
        <p:txBody>
          <a:bodyPr anchor="t"/>
          <a:lstStyle>
            <a:lvl1pPr marL="0" indent="0">
              <a:buNone/>
              <a:defRPr lang="en-GB" sz="2000" kern="1200" dirty="0">
                <a:solidFill>
                  <a:schemeClr val="tx1"/>
                </a:solidFill>
                <a:latin typeface="Poppins Medium" panose="02000000000000000000" pitchFamily="2" charset="0"/>
                <a:ea typeface="+mn-ea"/>
                <a:cs typeface="Poppins Medium"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Intro paragraph over 2 lines.</a:t>
            </a:r>
            <a:endParaRPr lang="en-GB" dirty="0"/>
          </a:p>
        </p:txBody>
      </p:sp>
    </p:spTree>
    <p:extLst>
      <p:ext uri="{BB962C8B-B14F-4D97-AF65-F5344CB8AC3E}">
        <p14:creationId xmlns:p14="http://schemas.microsoft.com/office/powerpoint/2010/main" val="73456545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ullets and imag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6B2ED4-0683-4869-85D3-EDA0DE8E01EB}"/>
              </a:ext>
            </a:extLst>
          </p:cNvPr>
          <p:cNvSpPr>
            <a:spLocks noGrp="1"/>
          </p:cNvSpPr>
          <p:nvPr>
            <p:ph type="title" hasCustomPrompt="1"/>
          </p:nvPr>
        </p:nvSpPr>
        <p:spPr>
          <a:xfrm>
            <a:off x="472918" y="-1"/>
            <a:ext cx="8149974" cy="831103"/>
          </a:xfrm>
        </p:spPr>
        <p:txBody>
          <a:bodyPr/>
          <a:lstStyle>
            <a:lvl1pPr>
              <a:defRPr>
                <a:solidFill>
                  <a:schemeClr val="tx1"/>
                </a:solidFill>
              </a:defRPr>
            </a:lvl1pPr>
          </a:lstStyle>
          <a:p>
            <a:r>
              <a:rPr lang="en-US" dirty="0"/>
              <a:t>Slide title</a:t>
            </a:r>
            <a:endParaRPr lang="en-GB" dirty="0"/>
          </a:p>
        </p:txBody>
      </p:sp>
      <p:sp>
        <p:nvSpPr>
          <p:cNvPr id="12" name="Picture Placeholder 11">
            <a:extLst>
              <a:ext uri="{FF2B5EF4-FFF2-40B4-BE49-F238E27FC236}">
                <a16:creationId xmlns:a16="http://schemas.microsoft.com/office/drawing/2014/main" id="{297C47CA-0BAF-4D64-A172-0508D960F002}"/>
              </a:ext>
            </a:extLst>
          </p:cNvPr>
          <p:cNvSpPr>
            <a:spLocks noGrp="1"/>
          </p:cNvSpPr>
          <p:nvPr>
            <p:ph type="pic" sz="quarter" idx="13" hasCustomPrompt="1"/>
          </p:nvPr>
        </p:nvSpPr>
        <p:spPr>
          <a:xfrm>
            <a:off x="6284686" y="1168543"/>
            <a:ext cx="5907314" cy="5133591"/>
          </a:xfrm>
          <a:solidFill>
            <a:schemeClr val="bg1">
              <a:lumMod val="95000"/>
            </a:schemeClr>
          </a:solidFill>
        </p:spPr>
        <p:txBody>
          <a:bodyPr anchor="ctr"/>
          <a:lstStyle>
            <a:lvl1pPr algn="ctr">
              <a:defRPr>
                <a:solidFill>
                  <a:schemeClr val="bg1">
                    <a:lumMod val="65000"/>
                  </a:schemeClr>
                </a:solidFill>
              </a:defRPr>
            </a:lvl1pPr>
            <a:lvl7pPr>
              <a:defRPr lang="en-GB" sz="1500" kern="1200" dirty="0">
                <a:solidFill>
                  <a:schemeClr val="tx1"/>
                </a:solidFill>
                <a:latin typeface="Poppins Light" panose="02000000000000000000" pitchFamily="2" charset="0"/>
                <a:ea typeface="+mn-ea"/>
                <a:cs typeface="Poppins Light" panose="02000000000000000000" pitchFamily="2" charset="0"/>
              </a:defRPr>
            </a:lvl7pPr>
            <a:lvl9pPr marL="3657600" indent="0">
              <a:buNone/>
              <a:defRPr>
                <a:solidFill>
                  <a:schemeClr val="bg1">
                    <a:lumMod val="65000"/>
                  </a:schemeClr>
                </a:solidFill>
              </a:defRPr>
            </a:lvl9pPr>
          </a:lstStyle>
          <a:p>
            <a:pPr marL="87313" lvl="6" indent="0" algn="ctr" defTabSz="914400" rtl="0" eaLnBrk="1" latinLnBrk="0" hangingPunct="1">
              <a:lnSpc>
                <a:spcPct val="90000"/>
              </a:lnSpc>
              <a:spcBef>
                <a:spcPts val="500"/>
              </a:spcBef>
              <a:buFont typeface="Arial" panose="020B0604020202020204" pitchFamily="34" charset="0"/>
              <a:buNone/>
            </a:pPr>
            <a:r>
              <a:rPr lang="en-GB" dirty="0"/>
              <a:t>Image – place graphic element on top in normal view</a:t>
            </a:r>
          </a:p>
        </p:txBody>
      </p:sp>
      <p:sp>
        <p:nvSpPr>
          <p:cNvPr id="19" name="Picture Placeholder 15">
            <a:extLst>
              <a:ext uri="{FF2B5EF4-FFF2-40B4-BE49-F238E27FC236}">
                <a16:creationId xmlns:a16="http://schemas.microsoft.com/office/drawing/2014/main" id="{D589E8C2-4ED9-4606-9911-36961729BACC}"/>
              </a:ext>
            </a:extLst>
          </p:cNvPr>
          <p:cNvSpPr>
            <a:spLocks noGrp="1"/>
          </p:cNvSpPr>
          <p:nvPr>
            <p:ph type="pic" sz="quarter" idx="14" hasCustomPrompt="1"/>
          </p:nvPr>
        </p:nvSpPr>
        <p:spPr>
          <a:xfrm>
            <a:off x="8483600" y="2755900"/>
            <a:ext cx="3708400" cy="4097722"/>
          </a:xfrm>
          <a:blipFill>
            <a:blip r:embed="rId2" cstate="print">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a:lvl1pPr>
          </a:lstStyle>
          <a:p>
            <a:r>
              <a:rPr lang="en-GB" dirty="0"/>
              <a:t>       </a:t>
            </a:r>
          </a:p>
        </p:txBody>
      </p:sp>
      <p:sp>
        <p:nvSpPr>
          <p:cNvPr id="4" name="Text Placeholder 3">
            <a:extLst>
              <a:ext uri="{FF2B5EF4-FFF2-40B4-BE49-F238E27FC236}">
                <a16:creationId xmlns:a16="http://schemas.microsoft.com/office/drawing/2014/main" id="{1B21CECE-A706-4B99-9E3A-DF8A4EE51B77}"/>
              </a:ext>
            </a:extLst>
          </p:cNvPr>
          <p:cNvSpPr>
            <a:spLocks noGrp="1"/>
          </p:cNvSpPr>
          <p:nvPr>
            <p:ph type="body" sz="quarter" idx="19"/>
          </p:nvPr>
        </p:nvSpPr>
        <p:spPr>
          <a:xfrm>
            <a:off x="472354" y="1841500"/>
            <a:ext cx="5001345" cy="1520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3">
            <a:extLst>
              <a:ext uri="{FF2B5EF4-FFF2-40B4-BE49-F238E27FC236}">
                <a16:creationId xmlns:a16="http://schemas.microsoft.com/office/drawing/2014/main" id="{4E52991B-1129-4F2C-9F91-7FD501ABC57B}"/>
              </a:ext>
            </a:extLst>
          </p:cNvPr>
          <p:cNvSpPr>
            <a:spLocks noGrp="1"/>
          </p:cNvSpPr>
          <p:nvPr>
            <p:ph type="body" sz="quarter" idx="20"/>
          </p:nvPr>
        </p:nvSpPr>
        <p:spPr>
          <a:xfrm>
            <a:off x="472354" y="3362325"/>
            <a:ext cx="5001345" cy="1520825"/>
          </a:xfrm>
        </p:spPr>
        <p:txBody>
          <a:bodyPr/>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3">
            <a:extLst>
              <a:ext uri="{FF2B5EF4-FFF2-40B4-BE49-F238E27FC236}">
                <a16:creationId xmlns:a16="http://schemas.microsoft.com/office/drawing/2014/main" id="{A24B931C-587D-4925-8929-7C063609966C}"/>
              </a:ext>
            </a:extLst>
          </p:cNvPr>
          <p:cNvSpPr>
            <a:spLocks noGrp="1"/>
          </p:cNvSpPr>
          <p:nvPr>
            <p:ph type="body" sz="quarter" idx="21"/>
          </p:nvPr>
        </p:nvSpPr>
        <p:spPr>
          <a:xfrm>
            <a:off x="472354" y="4883150"/>
            <a:ext cx="5001345" cy="1520825"/>
          </a:xfrm>
        </p:spPr>
        <p:txBody>
          <a:bodyPr/>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9">
            <a:extLst>
              <a:ext uri="{FF2B5EF4-FFF2-40B4-BE49-F238E27FC236}">
                <a16:creationId xmlns:a16="http://schemas.microsoft.com/office/drawing/2014/main" id="{BB9F8E68-1381-4B6A-A33D-6E9B3770C6CC}"/>
              </a:ext>
            </a:extLst>
          </p:cNvPr>
          <p:cNvSpPr>
            <a:spLocks noGrp="1"/>
          </p:cNvSpPr>
          <p:nvPr>
            <p:ph type="body" sz="quarter" idx="12" hasCustomPrompt="1"/>
          </p:nvPr>
        </p:nvSpPr>
        <p:spPr>
          <a:xfrm>
            <a:off x="463809" y="903074"/>
            <a:ext cx="8159082" cy="729174"/>
          </a:xfrm>
        </p:spPr>
        <p:txBody>
          <a:bodyPr anchor="t"/>
          <a:lstStyle>
            <a:lvl1pPr marL="0" indent="0">
              <a:buNone/>
              <a:defRPr lang="en-GB" sz="2000" kern="1200" dirty="0">
                <a:solidFill>
                  <a:schemeClr val="tx1"/>
                </a:solidFill>
                <a:latin typeface="Poppins Medium" panose="02000000000000000000" pitchFamily="2" charset="0"/>
                <a:ea typeface="+mn-ea"/>
                <a:cs typeface="Poppins Medium"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marL="0" lvl="0" indent="0" algn="l" defTabSz="914400" rtl="0" eaLnBrk="1" latinLnBrk="0" hangingPunct="1">
              <a:lnSpc>
                <a:spcPct val="105000"/>
              </a:lnSpc>
              <a:spcBef>
                <a:spcPts val="1000"/>
              </a:spcBef>
              <a:buFont typeface="Wingdings 2" panose="05020102010507070707" pitchFamily="18" charset="2"/>
              <a:buNone/>
            </a:pPr>
            <a:r>
              <a:rPr lang="en-US" dirty="0"/>
              <a:t>Sub-heading</a:t>
            </a:r>
            <a:endParaRPr lang="en-GB" dirty="0"/>
          </a:p>
        </p:txBody>
      </p:sp>
      <p:sp>
        <p:nvSpPr>
          <p:cNvPr id="11" name="Slide Number Placeholder 5">
            <a:extLst>
              <a:ext uri="{FF2B5EF4-FFF2-40B4-BE49-F238E27FC236}">
                <a16:creationId xmlns:a16="http://schemas.microsoft.com/office/drawing/2014/main" id="{E556B91F-7450-4889-B565-59EBECF47209}"/>
              </a:ext>
            </a:extLst>
          </p:cNvPr>
          <p:cNvSpPr txBox="1">
            <a:spLocks/>
          </p:cNvSpPr>
          <p:nvPr userDrawn="1"/>
        </p:nvSpPr>
        <p:spPr>
          <a:xfrm>
            <a:off x="11387579"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ym typeface="Symbol" panose="05050102010706020507" pitchFamily="18" charset="2"/>
              </a:rPr>
              <a:t> </a:t>
            </a:r>
            <a:fld id="{985D5D71-2132-4A0D-A457-AC01235D778F}" type="slidenum">
              <a:rPr lang="en-GB" sz="800" kern="1200" smtClean="0">
                <a:solidFill>
                  <a:schemeClr val="accent5"/>
                </a:solidFill>
                <a:latin typeface="Poppins Medium" panose="02000000000000000000" pitchFamily="2" charset="0"/>
                <a:ea typeface="+mn-ea"/>
                <a:cs typeface="Poppins Medium" panose="02000000000000000000" pitchFamily="2" charset="0"/>
              </a:rPr>
              <a:pPr/>
              <a:t>‹#›</a:t>
            </a:fld>
            <a:endParaRPr lang="en-GB" sz="800" kern="1200" dirty="0">
              <a:solidFill>
                <a:schemeClr val="accent5"/>
              </a:solidFill>
              <a:latin typeface="Poppins Medium" panose="02000000000000000000" pitchFamily="2" charset="0"/>
              <a:ea typeface="+mn-ea"/>
              <a:cs typeface="Poppins Medium" panose="02000000000000000000" pitchFamily="2" charset="0"/>
            </a:endParaRPr>
          </a:p>
        </p:txBody>
      </p:sp>
    </p:spTree>
    <p:extLst>
      <p:ext uri="{BB962C8B-B14F-4D97-AF65-F5344CB8AC3E}">
        <p14:creationId xmlns:p14="http://schemas.microsoft.com/office/powerpoint/2010/main" val="267313073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py and image slid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40A0CD3-A136-4797-8325-FC673F62A206}"/>
              </a:ext>
            </a:extLst>
          </p:cNvPr>
          <p:cNvSpPr>
            <a:spLocks noGrp="1"/>
          </p:cNvSpPr>
          <p:nvPr>
            <p:ph type="pic" sz="quarter" idx="14" hasCustomPrompt="1"/>
          </p:nvPr>
        </p:nvSpPr>
        <p:spPr>
          <a:xfrm>
            <a:off x="9030824" y="207772"/>
            <a:ext cx="2876400" cy="1033200"/>
          </a:xfrm>
          <a:blipFill>
            <a:blip r:embed="rId2" cstate="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GB" dirty="0"/>
              <a:t> </a:t>
            </a:r>
          </a:p>
        </p:txBody>
      </p:sp>
      <p:sp>
        <p:nvSpPr>
          <p:cNvPr id="2" name="Title 1">
            <a:extLst>
              <a:ext uri="{FF2B5EF4-FFF2-40B4-BE49-F238E27FC236}">
                <a16:creationId xmlns:a16="http://schemas.microsoft.com/office/drawing/2014/main" id="{086B2ED4-0683-4869-85D3-EDA0DE8E01EB}"/>
              </a:ext>
            </a:extLst>
          </p:cNvPr>
          <p:cNvSpPr>
            <a:spLocks noGrp="1"/>
          </p:cNvSpPr>
          <p:nvPr>
            <p:ph type="title" hasCustomPrompt="1"/>
          </p:nvPr>
        </p:nvSpPr>
        <p:spPr>
          <a:xfrm>
            <a:off x="472917" y="7257"/>
            <a:ext cx="8133281" cy="831103"/>
          </a:xfrm>
        </p:spPr>
        <p:txBody>
          <a:bodyPr/>
          <a:lstStyle>
            <a:lvl1pPr>
              <a:defRPr>
                <a:solidFill>
                  <a:schemeClr val="tx1"/>
                </a:solidFill>
              </a:defRPr>
            </a:lvl1pPr>
          </a:lstStyle>
          <a:p>
            <a:r>
              <a:rPr lang="en-US" dirty="0"/>
              <a:t>Copy and image slide</a:t>
            </a:r>
            <a:endParaRPr lang="en-GB" dirty="0"/>
          </a:p>
        </p:txBody>
      </p:sp>
      <p:sp>
        <p:nvSpPr>
          <p:cNvPr id="8" name="Slide Number Placeholder 5">
            <a:extLst>
              <a:ext uri="{FF2B5EF4-FFF2-40B4-BE49-F238E27FC236}">
                <a16:creationId xmlns:a16="http://schemas.microsoft.com/office/drawing/2014/main" id="{4AD3DA69-35E8-4C04-B899-38E94CAC18CF}"/>
              </a:ext>
            </a:extLst>
          </p:cNvPr>
          <p:cNvSpPr txBox="1">
            <a:spLocks/>
          </p:cNvSpPr>
          <p:nvPr userDrawn="1"/>
        </p:nvSpPr>
        <p:spPr>
          <a:xfrm>
            <a:off x="11387579"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
        <p:nvSpPr>
          <p:cNvPr id="6" name="Picture Placeholder 5">
            <a:extLst>
              <a:ext uri="{FF2B5EF4-FFF2-40B4-BE49-F238E27FC236}">
                <a16:creationId xmlns:a16="http://schemas.microsoft.com/office/drawing/2014/main" id="{4F66D672-AE29-4DA5-828F-732EA18A4618}"/>
              </a:ext>
            </a:extLst>
          </p:cNvPr>
          <p:cNvSpPr>
            <a:spLocks noGrp="1"/>
          </p:cNvSpPr>
          <p:nvPr>
            <p:ph type="pic" sz="quarter" idx="12" hasCustomPrompt="1"/>
          </p:nvPr>
        </p:nvSpPr>
        <p:spPr>
          <a:xfrm>
            <a:off x="5437576" y="-1074056"/>
            <a:ext cx="8133281" cy="8636000"/>
          </a:xfrm>
          <a:prstGeom prst="ellipse">
            <a:avLst/>
          </a:prstGeom>
          <a:solidFill>
            <a:schemeClr val="bg1">
              <a:lumMod val="95000"/>
            </a:schemeClr>
          </a:solidFill>
        </p:spPr>
        <p:txBody>
          <a:bodyPr tIns="1440000" anchor="t"/>
          <a:lstStyle>
            <a:lvl1pPr algn="ctr">
              <a:defRPr/>
            </a:lvl1pPr>
            <a:lvl7pPr marL="87313" indent="0" algn="ctr">
              <a:buFont typeface="Arial" panose="020B0604020202020204" pitchFamily="34" charset="0"/>
              <a:buNone/>
              <a:defRPr lang="en-GB" sz="1500" kern="1200" dirty="0">
                <a:solidFill>
                  <a:schemeClr val="tx1"/>
                </a:solidFill>
                <a:latin typeface="Poppins Light" panose="02000000000000000000" pitchFamily="2" charset="0"/>
                <a:ea typeface="+mn-ea"/>
                <a:cs typeface="Poppins Light" panose="02000000000000000000" pitchFamily="2" charset="0"/>
              </a:defRPr>
            </a:lvl7pPr>
          </a:lstStyle>
          <a:p>
            <a:pPr lvl="6"/>
            <a:r>
              <a:rPr lang="en-GB" dirty="0"/>
              <a:t>Add image by clicking the icon.</a:t>
            </a:r>
            <a:br>
              <a:rPr lang="en-GB" dirty="0"/>
            </a:br>
            <a:r>
              <a:rPr lang="en-GB" dirty="0"/>
              <a:t>Place logo on top in normal view.</a:t>
            </a:r>
          </a:p>
        </p:txBody>
      </p:sp>
      <p:sp>
        <p:nvSpPr>
          <p:cNvPr id="13" name="Text Placeholder 9">
            <a:extLst>
              <a:ext uri="{FF2B5EF4-FFF2-40B4-BE49-F238E27FC236}">
                <a16:creationId xmlns:a16="http://schemas.microsoft.com/office/drawing/2014/main" id="{D2DBCABD-4EE2-4C1D-9C11-6C111D1BB3F1}"/>
              </a:ext>
            </a:extLst>
          </p:cNvPr>
          <p:cNvSpPr>
            <a:spLocks noGrp="1"/>
          </p:cNvSpPr>
          <p:nvPr>
            <p:ph type="body" sz="quarter" idx="13" hasCustomPrompt="1"/>
          </p:nvPr>
        </p:nvSpPr>
        <p:spPr>
          <a:xfrm>
            <a:off x="472354" y="1804874"/>
            <a:ext cx="4818235" cy="947738"/>
          </a:xfrm>
        </p:spPr>
        <p:txBody>
          <a:bodyPr anchor="t"/>
          <a:lstStyle>
            <a:lvl1pPr marL="0" indent="0">
              <a:buNone/>
              <a:defRPr lang="en-GB" sz="2000" kern="1200" dirty="0">
                <a:solidFill>
                  <a:schemeClr val="tx1"/>
                </a:solidFill>
                <a:latin typeface="Poppins Medium" panose="02000000000000000000" pitchFamily="2" charset="0"/>
                <a:ea typeface="+mn-ea"/>
                <a:cs typeface="Poppins Medium"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Intro paragraph over 2 lines. Lorem ipsum dolor sit </a:t>
            </a:r>
            <a:r>
              <a:rPr lang="en-US" dirty="0" err="1"/>
              <a:t>amet</a:t>
            </a:r>
            <a:r>
              <a:rPr lang="en-US" dirty="0"/>
              <a:t>, do </a:t>
            </a:r>
            <a:r>
              <a:rPr lang="en-US" dirty="0" err="1"/>
              <a:t>eiusmod</a:t>
            </a:r>
            <a:r>
              <a:rPr lang="en-US" dirty="0"/>
              <a:t> </a:t>
            </a:r>
            <a:r>
              <a:rPr lang="en-US" dirty="0" err="1"/>
              <a:t>ut</a:t>
            </a:r>
            <a:r>
              <a:rPr lang="en-US" dirty="0"/>
              <a:t> </a:t>
            </a:r>
            <a:r>
              <a:rPr lang="en-US" dirty="0" err="1"/>
              <a:t>labore</a:t>
            </a:r>
            <a:r>
              <a:rPr lang="en-US" dirty="0"/>
              <a:t> et dolore magna.</a:t>
            </a:r>
            <a:endParaRPr lang="en-GB" dirty="0"/>
          </a:p>
        </p:txBody>
      </p:sp>
      <p:sp>
        <p:nvSpPr>
          <p:cNvPr id="14" name="Text Placeholder 9">
            <a:extLst>
              <a:ext uri="{FF2B5EF4-FFF2-40B4-BE49-F238E27FC236}">
                <a16:creationId xmlns:a16="http://schemas.microsoft.com/office/drawing/2014/main" id="{19E3710F-7744-4776-A0C0-BEF8BACA10C4}"/>
              </a:ext>
            </a:extLst>
          </p:cNvPr>
          <p:cNvSpPr>
            <a:spLocks noGrp="1"/>
          </p:cNvSpPr>
          <p:nvPr>
            <p:ph type="body" sz="quarter" idx="16" hasCustomPrompt="1"/>
          </p:nvPr>
        </p:nvSpPr>
        <p:spPr>
          <a:xfrm>
            <a:off x="472355" y="2955130"/>
            <a:ext cx="4818234" cy="3386675"/>
          </a:xfrm>
        </p:spPr>
        <p:txBody>
          <a:bodyPr anchor="t"/>
          <a:lstStyle>
            <a:lvl1pPr marL="0" indent="0">
              <a:buNone/>
              <a:defRPr lang="en-GB" sz="1600" kern="1200" dirty="0">
                <a:solidFill>
                  <a:schemeClr val="tx1"/>
                </a:solidFill>
                <a:latin typeface="Poppins Light" panose="02000000000000000000" pitchFamily="2" charset="0"/>
                <a:ea typeface="+mn-ea"/>
                <a:cs typeface="Poppins Light"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non </a:t>
            </a:r>
            <a:r>
              <a:rPr lang="en-US" dirty="0" err="1"/>
              <a:t>proident</a:t>
            </a:r>
            <a:r>
              <a:rPr lang="en-US" dirty="0"/>
              <a:t>, sunt in culpa qui official.</a:t>
            </a:r>
            <a:endParaRPr lang="en-GB" dirty="0"/>
          </a:p>
        </p:txBody>
      </p:sp>
      <p:sp>
        <p:nvSpPr>
          <p:cNvPr id="11" name="Text Placeholder 9">
            <a:extLst>
              <a:ext uri="{FF2B5EF4-FFF2-40B4-BE49-F238E27FC236}">
                <a16:creationId xmlns:a16="http://schemas.microsoft.com/office/drawing/2014/main" id="{C0151E5D-868A-4510-8DF6-6FF090F0492E}"/>
              </a:ext>
            </a:extLst>
          </p:cNvPr>
          <p:cNvSpPr>
            <a:spLocks noGrp="1"/>
          </p:cNvSpPr>
          <p:nvPr>
            <p:ph type="body" sz="quarter" idx="17" hasCustomPrompt="1"/>
          </p:nvPr>
        </p:nvSpPr>
        <p:spPr>
          <a:xfrm>
            <a:off x="463808" y="903074"/>
            <a:ext cx="5330241" cy="729174"/>
          </a:xfrm>
        </p:spPr>
        <p:txBody>
          <a:bodyPr anchor="t"/>
          <a:lstStyle>
            <a:lvl1pPr marL="0" indent="0">
              <a:buNone/>
              <a:defRPr lang="en-GB" sz="2000" kern="1200" dirty="0">
                <a:solidFill>
                  <a:schemeClr val="tx1"/>
                </a:solidFill>
                <a:latin typeface="Poppins Medium" panose="02000000000000000000" pitchFamily="2" charset="0"/>
                <a:ea typeface="+mn-ea"/>
                <a:cs typeface="Poppins Medium"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marL="0" lvl="0" indent="0" algn="l" defTabSz="914400" rtl="0" eaLnBrk="1" latinLnBrk="0" hangingPunct="1">
              <a:lnSpc>
                <a:spcPct val="105000"/>
              </a:lnSpc>
              <a:spcBef>
                <a:spcPts val="1000"/>
              </a:spcBef>
              <a:buFont typeface="Wingdings 2" panose="05020102010507070707" pitchFamily="18" charset="2"/>
              <a:buNone/>
            </a:pPr>
            <a:r>
              <a:rPr lang="en-US" dirty="0"/>
              <a:t>Sub-heading</a:t>
            </a:r>
            <a:endParaRPr lang="en-GB" dirty="0"/>
          </a:p>
        </p:txBody>
      </p:sp>
    </p:spTree>
    <p:extLst>
      <p:ext uri="{BB962C8B-B14F-4D97-AF65-F5344CB8AC3E}">
        <p14:creationId xmlns:p14="http://schemas.microsoft.com/office/powerpoint/2010/main" val="144127767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py and 2 images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46686E92-E029-4CF5-B509-D090E74C9AF8}"/>
              </a:ext>
              <a:ext uri="{C183D7F6-B498-43B3-948B-1728B52AA6E4}">
                <adec:decorative xmlns:adec="http://schemas.microsoft.com/office/drawing/2017/decorative" val="1"/>
              </a:ext>
            </a:extLst>
          </p:cNvPr>
          <p:cNvSpPr>
            <a:spLocks noGrp="1"/>
          </p:cNvSpPr>
          <p:nvPr>
            <p:ph type="pic" sz="quarter" idx="12" hasCustomPrompt="1"/>
          </p:nvPr>
        </p:nvSpPr>
        <p:spPr>
          <a:xfrm rot="10800000" flipH="1" flipV="1">
            <a:off x="6096000" y="1838323"/>
            <a:ext cx="5629274" cy="2187576"/>
          </a:xfrm>
          <a:prstGeom prst="rect">
            <a:avLst/>
          </a:prstGeom>
          <a:solidFill>
            <a:schemeClr val="bg1">
              <a:lumMod val="95000"/>
            </a:schemeClr>
          </a:solidFill>
        </p:spPr>
        <p:txBody>
          <a:bodyPr vert="horz" anchor="ctr" anchorCtr="0"/>
          <a:lstStyle>
            <a:lvl1pPr marL="0" indent="0" algn="ctr">
              <a:buNone/>
              <a:defRPr lang="en-GB" sz="1500" kern="1200" dirty="0">
                <a:solidFill>
                  <a:schemeClr val="tx1"/>
                </a:solidFill>
                <a:latin typeface="Poppins Light" panose="02000000000000000000" pitchFamily="2" charset="0"/>
                <a:ea typeface="+mn-ea"/>
                <a:cs typeface="Poppins Light" panose="02000000000000000000" pitchFamily="2" charset="0"/>
              </a:defRPr>
            </a:lvl1pPr>
          </a:lstStyle>
          <a:p>
            <a:r>
              <a:rPr lang="en-GB" dirty="0"/>
              <a:t>  Add image and place white rounded shape</a:t>
            </a:r>
            <a:br>
              <a:rPr lang="en-GB" dirty="0"/>
            </a:br>
            <a:r>
              <a:rPr lang="en-GB" dirty="0"/>
              <a:t>on top of edge.</a:t>
            </a:r>
          </a:p>
        </p:txBody>
      </p:sp>
      <p:sp>
        <p:nvSpPr>
          <p:cNvPr id="13" name="Picture Placeholder 4">
            <a:extLst>
              <a:ext uri="{FF2B5EF4-FFF2-40B4-BE49-F238E27FC236}">
                <a16:creationId xmlns:a16="http://schemas.microsoft.com/office/drawing/2014/main" id="{2331483D-6A00-4C60-A9B9-51DB6BD9306B}"/>
              </a:ext>
              <a:ext uri="{C183D7F6-B498-43B3-948B-1728B52AA6E4}">
                <adec:decorative xmlns:adec="http://schemas.microsoft.com/office/drawing/2017/decorative" val="1"/>
              </a:ext>
            </a:extLst>
          </p:cNvPr>
          <p:cNvSpPr>
            <a:spLocks noGrp="1"/>
          </p:cNvSpPr>
          <p:nvPr>
            <p:ph type="pic" sz="quarter" idx="13" hasCustomPrompt="1"/>
          </p:nvPr>
        </p:nvSpPr>
        <p:spPr>
          <a:xfrm rot="10800000" flipH="1" flipV="1">
            <a:off x="6096000" y="4187823"/>
            <a:ext cx="5629274" cy="2187576"/>
          </a:xfrm>
          <a:prstGeom prst="rect">
            <a:avLst/>
          </a:prstGeom>
          <a:solidFill>
            <a:schemeClr val="bg1">
              <a:lumMod val="95000"/>
            </a:schemeClr>
          </a:solidFill>
        </p:spPr>
        <p:txBody>
          <a:bodyPr vert="horz" anchor="ctr" anchorCtr="0"/>
          <a:lstStyle>
            <a:lvl1pPr marL="0" indent="0" algn="ctr">
              <a:buNone/>
              <a:defRPr lang="en-GB" sz="1500" kern="1200" dirty="0">
                <a:solidFill>
                  <a:schemeClr val="tx1"/>
                </a:solidFill>
                <a:latin typeface="Poppins Light" panose="02000000000000000000" pitchFamily="2" charset="0"/>
                <a:ea typeface="+mn-ea"/>
                <a:cs typeface="Poppins Light" panose="02000000000000000000" pitchFamily="2" charset="0"/>
              </a:defRPr>
            </a:lvl1pPr>
          </a:lstStyle>
          <a:p>
            <a:r>
              <a:rPr lang="en-GB" dirty="0"/>
              <a:t> Add image and place white rounded shape</a:t>
            </a:r>
            <a:br>
              <a:rPr lang="en-GB" dirty="0"/>
            </a:br>
            <a:r>
              <a:rPr lang="en-GB" dirty="0"/>
              <a:t>on top of edge. </a:t>
            </a:r>
          </a:p>
        </p:txBody>
      </p:sp>
      <p:sp>
        <p:nvSpPr>
          <p:cNvPr id="17" name="Title 1">
            <a:extLst>
              <a:ext uri="{FF2B5EF4-FFF2-40B4-BE49-F238E27FC236}">
                <a16:creationId xmlns:a16="http://schemas.microsoft.com/office/drawing/2014/main" id="{4A569ACC-D045-4E3B-B3A9-898EA9E59387}"/>
              </a:ext>
            </a:extLst>
          </p:cNvPr>
          <p:cNvSpPr>
            <a:spLocks noGrp="1"/>
          </p:cNvSpPr>
          <p:nvPr>
            <p:ph type="title" hasCustomPrompt="1"/>
          </p:nvPr>
        </p:nvSpPr>
        <p:spPr>
          <a:xfrm>
            <a:off x="472917" y="7257"/>
            <a:ext cx="8130309" cy="831103"/>
          </a:xfrm>
        </p:spPr>
        <p:txBody>
          <a:bodyPr/>
          <a:lstStyle>
            <a:lvl1pPr>
              <a:defRPr>
                <a:solidFill>
                  <a:schemeClr val="tx1"/>
                </a:solidFill>
              </a:defRPr>
            </a:lvl1pPr>
          </a:lstStyle>
          <a:p>
            <a:r>
              <a:rPr lang="en-US" dirty="0"/>
              <a:t>Copy and 2 images slide</a:t>
            </a:r>
            <a:endParaRPr lang="en-GB" dirty="0"/>
          </a:p>
        </p:txBody>
      </p:sp>
      <p:sp>
        <p:nvSpPr>
          <p:cNvPr id="19" name="Text Placeholder 9">
            <a:extLst>
              <a:ext uri="{FF2B5EF4-FFF2-40B4-BE49-F238E27FC236}">
                <a16:creationId xmlns:a16="http://schemas.microsoft.com/office/drawing/2014/main" id="{341977D1-C8E0-4ADD-B5B2-46465E4F17A6}"/>
              </a:ext>
            </a:extLst>
          </p:cNvPr>
          <p:cNvSpPr>
            <a:spLocks noGrp="1"/>
          </p:cNvSpPr>
          <p:nvPr>
            <p:ph type="body" sz="quarter" idx="16" hasCustomPrompt="1"/>
          </p:nvPr>
        </p:nvSpPr>
        <p:spPr>
          <a:xfrm>
            <a:off x="472354" y="1804874"/>
            <a:ext cx="4818235" cy="947738"/>
          </a:xfrm>
        </p:spPr>
        <p:txBody>
          <a:bodyPr anchor="t"/>
          <a:lstStyle>
            <a:lvl1pPr marL="0" indent="0">
              <a:buNone/>
              <a:defRPr lang="en-GB" sz="2000" kern="1200" dirty="0">
                <a:solidFill>
                  <a:schemeClr val="tx1"/>
                </a:solidFill>
                <a:latin typeface="Poppins Medium" panose="02000000000000000000" pitchFamily="2" charset="0"/>
                <a:ea typeface="+mn-ea"/>
                <a:cs typeface="Poppins Medium"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Intro paragraph over 2 lines. Lorem ipsum dolor sit </a:t>
            </a:r>
            <a:r>
              <a:rPr lang="en-US" dirty="0" err="1"/>
              <a:t>amet</a:t>
            </a:r>
            <a:r>
              <a:rPr lang="en-US" dirty="0"/>
              <a:t>…</a:t>
            </a:r>
            <a:endParaRPr lang="en-GB" dirty="0"/>
          </a:p>
        </p:txBody>
      </p:sp>
      <p:sp>
        <p:nvSpPr>
          <p:cNvPr id="20" name="Text Placeholder 9">
            <a:extLst>
              <a:ext uri="{FF2B5EF4-FFF2-40B4-BE49-F238E27FC236}">
                <a16:creationId xmlns:a16="http://schemas.microsoft.com/office/drawing/2014/main" id="{9C8EDB14-4B21-4BF4-A5F3-AECB9A20D7EA}"/>
              </a:ext>
            </a:extLst>
          </p:cNvPr>
          <p:cNvSpPr>
            <a:spLocks noGrp="1"/>
          </p:cNvSpPr>
          <p:nvPr>
            <p:ph type="body" sz="quarter" idx="17" hasCustomPrompt="1"/>
          </p:nvPr>
        </p:nvSpPr>
        <p:spPr>
          <a:xfrm>
            <a:off x="472355" y="2876490"/>
            <a:ext cx="4818234" cy="3498910"/>
          </a:xfrm>
        </p:spPr>
        <p:txBody>
          <a:bodyPr anchor="t"/>
          <a:lstStyle>
            <a:lvl1pPr marL="0" indent="0">
              <a:buNone/>
              <a:defRPr lang="en-GB" sz="1600" kern="1200" dirty="0">
                <a:solidFill>
                  <a:schemeClr val="tx1"/>
                </a:solidFill>
                <a:latin typeface="Poppins Light" panose="02000000000000000000" pitchFamily="2" charset="0"/>
                <a:ea typeface="+mn-ea"/>
                <a:cs typeface="Poppins Light"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 </a:t>
            </a:r>
            <a:r>
              <a:rPr lang="en-US" dirty="0" err="1"/>
              <a:t>velit</a:t>
            </a:r>
            <a:r>
              <a:rPr lang="en-US" dirty="0"/>
              <a:t> </a:t>
            </a:r>
            <a:r>
              <a:rPr lang="en-US" dirty="0" err="1"/>
              <a:t>esse</a:t>
            </a:r>
            <a:r>
              <a:rPr lang="en-US" dirty="0"/>
              <a:t> </a:t>
            </a:r>
            <a:r>
              <a:rPr lang="en-US" dirty="0" err="1"/>
              <a:t>cillum</a:t>
            </a:r>
            <a:r>
              <a:rPr lang="en-US" dirty="0"/>
              <a:t> dolore </a:t>
            </a:r>
            <a:r>
              <a:rPr lang="en-US" dirty="0" err="1"/>
              <a:t>eu</a:t>
            </a:r>
            <a:r>
              <a:rPr lang="en-US" dirty="0"/>
              <a:t> </a:t>
            </a:r>
            <a:r>
              <a:rPr lang="en-US" dirty="0" err="1"/>
              <a:t>fugiat</a:t>
            </a:r>
            <a:r>
              <a:rPr lang="en-US" dirty="0"/>
              <a:t> </a:t>
            </a:r>
            <a:r>
              <a:rPr lang="en-US" dirty="0" err="1"/>
              <a:t>nulla</a:t>
            </a:r>
            <a:r>
              <a:rPr lang="en-US" dirty="0"/>
              <a:t> </a:t>
            </a:r>
            <a:r>
              <a:rPr lang="en-US" dirty="0" err="1"/>
              <a:t>pariatur</a:t>
            </a:r>
            <a:r>
              <a:rPr lang="en-US" dirty="0"/>
              <a:t>. </a:t>
            </a:r>
            <a:r>
              <a:rPr lang="en-US" dirty="0" err="1"/>
              <a:t>Excepteur</a:t>
            </a:r>
            <a:r>
              <a:rPr lang="en-US" dirty="0"/>
              <a:t> </a:t>
            </a:r>
            <a:r>
              <a:rPr lang="en-US" dirty="0" err="1"/>
              <a:t>sint</a:t>
            </a:r>
            <a:r>
              <a:rPr lang="en-US" dirty="0"/>
              <a:t> non </a:t>
            </a:r>
            <a:r>
              <a:rPr lang="en-US" dirty="0" err="1"/>
              <a:t>proident</a:t>
            </a:r>
            <a:r>
              <a:rPr lang="en-US" dirty="0"/>
              <a:t>, sunt in culpa qui official.</a:t>
            </a:r>
            <a:endParaRPr lang="en-GB" dirty="0"/>
          </a:p>
        </p:txBody>
      </p:sp>
      <p:sp>
        <p:nvSpPr>
          <p:cNvPr id="6" name="Picture Placeholder 5">
            <a:extLst>
              <a:ext uri="{FF2B5EF4-FFF2-40B4-BE49-F238E27FC236}">
                <a16:creationId xmlns:a16="http://schemas.microsoft.com/office/drawing/2014/main" id="{DA3D10A2-2B2B-4098-8C05-991F1BD92CEA}"/>
              </a:ext>
            </a:extLst>
          </p:cNvPr>
          <p:cNvSpPr>
            <a:spLocks noGrp="1"/>
          </p:cNvSpPr>
          <p:nvPr>
            <p:ph type="pic" sz="quarter" idx="18" hasCustomPrompt="1"/>
          </p:nvPr>
        </p:nvSpPr>
        <p:spPr>
          <a:xfrm>
            <a:off x="11014738" y="3317803"/>
            <a:ext cx="830189" cy="830189"/>
          </a:xfrm>
          <a:prstGeom prst="blockArc">
            <a:avLst>
              <a:gd name="adj1" fmla="val 21599999"/>
              <a:gd name="adj2" fmla="val 5574993"/>
              <a:gd name="adj3" fmla="val 14903"/>
            </a:avLst>
          </a:prstGeom>
          <a:solidFill>
            <a:schemeClr val="bg1"/>
          </a:solidFill>
        </p:spPr>
        <p:txBody>
          <a:bodyPr/>
          <a:lstStyle>
            <a:lvl1pPr marL="0" indent="0">
              <a:buNone/>
              <a:defRPr/>
            </a:lvl1pPr>
          </a:lstStyle>
          <a:p>
            <a:r>
              <a:rPr lang="en-GB" dirty="0"/>
              <a:t>  </a:t>
            </a:r>
          </a:p>
        </p:txBody>
      </p:sp>
      <p:sp>
        <p:nvSpPr>
          <p:cNvPr id="14" name="Picture Placeholder 5">
            <a:extLst>
              <a:ext uri="{FF2B5EF4-FFF2-40B4-BE49-F238E27FC236}">
                <a16:creationId xmlns:a16="http://schemas.microsoft.com/office/drawing/2014/main" id="{73EB3699-41C5-475C-94A8-557BA96C8E61}"/>
              </a:ext>
            </a:extLst>
          </p:cNvPr>
          <p:cNvSpPr>
            <a:spLocks noGrp="1"/>
          </p:cNvSpPr>
          <p:nvPr>
            <p:ph type="pic" sz="quarter" idx="19" hasCustomPrompt="1"/>
          </p:nvPr>
        </p:nvSpPr>
        <p:spPr>
          <a:xfrm>
            <a:off x="11014738" y="5671457"/>
            <a:ext cx="830189" cy="830189"/>
          </a:xfrm>
          <a:prstGeom prst="blockArc">
            <a:avLst>
              <a:gd name="adj1" fmla="val 21599999"/>
              <a:gd name="adj2" fmla="val 5574993"/>
              <a:gd name="adj3" fmla="val 14903"/>
            </a:avLst>
          </a:prstGeom>
          <a:solidFill>
            <a:schemeClr val="bg1"/>
          </a:solidFill>
        </p:spPr>
        <p:txBody>
          <a:bodyPr/>
          <a:lstStyle>
            <a:lvl1pPr marL="0" indent="0">
              <a:buNone/>
              <a:defRPr/>
            </a:lvl1pPr>
          </a:lstStyle>
          <a:p>
            <a:r>
              <a:rPr lang="en-GB" dirty="0"/>
              <a:t>  </a:t>
            </a:r>
          </a:p>
        </p:txBody>
      </p:sp>
      <p:sp>
        <p:nvSpPr>
          <p:cNvPr id="12" name="Text Placeholder 9">
            <a:extLst>
              <a:ext uri="{FF2B5EF4-FFF2-40B4-BE49-F238E27FC236}">
                <a16:creationId xmlns:a16="http://schemas.microsoft.com/office/drawing/2014/main" id="{5B8A1627-2370-49BF-8726-673B85B5E7A7}"/>
              </a:ext>
            </a:extLst>
          </p:cNvPr>
          <p:cNvSpPr>
            <a:spLocks noGrp="1"/>
          </p:cNvSpPr>
          <p:nvPr>
            <p:ph type="body" sz="quarter" idx="20" hasCustomPrompt="1"/>
          </p:nvPr>
        </p:nvSpPr>
        <p:spPr>
          <a:xfrm>
            <a:off x="463809" y="903074"/>
            <a:ext cx="8130310" cy="729174"/>
          </a:xfrm>
        </p:spPr>
        <p:txBody>
          <a:bodyPr anchor="t"/>
          <a:lstStyle>
            <a:lvl1pPr marL="0" indent="0">
              <a:buNone/>
              <a:defRPr lang="en-GB" sz="2000" kern="1200" dirty="0">
                <a:solidFill>
                  <a:schemeClr val="tx1"/>
                </a:solidFill>
                <a:latin typeface="Poppins Medium" panose="02000000000000000000" pitchFamily="2" charset="0"/>
                <a:ea typeface="+mn-ea"/>
                <a:cs typeface="Poppins Medium"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marL="0" lvl="0" indent="0" algn="l" defTabSz="914400" rtl="0" eaLnBrk="1" latinLnBrk="0" hangingPunct="1">
              <a:lnSpc>
                <a:spcPct val="105000"/>
              </a:lnSpc>
              <a:spcBef>
                <a:spcPts val="1000"/>
              </a:spcBef>
              <a:buFont typeface="Wingdings 2" panose="05020102010507070707" pitchFamily="18" charset="2"/>
              <a:buNone/>
            </a:pPr>
            <a:r>
              <a:rPr lang="en-US" dirty="0"/>
              <a:t>Sub-heading</a:t>
            </a:r>
            <a:endParaRPr lang="en-GB" dirty="0"/>
          </a:p>
        </p:txBody>
      </p:sp>
      <p:sp>
        <p:nvSpPr>
          <p:cNvPr id="15" name="Slide Number Placeholder 5">
            <a:extLst>
              <a:ext uri="{FF2B5EF4-FFF2-40B4-BE49-F238E27FC236}">
                <a16:creationId xmlns:a16="http://schemas.microsoft.com/office/drawing/2014/main" id="{7D2C45C7-7536-4019-8C22-659CBFBD6526}"/>
              </a:ext>
            </a:extLst>
          </p:cNvPr>
          <p:cNvSpPr txBox="1">
            <a:spLocks/>
          </p:cNvSpPr>
          <p:nvPr userDrawn="1"/>
        </p:nvSpPr>
        <p:spPr>
          <a:xfrm>
            <a:off x="11387579"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olidFill>
                  <a:schemeClr val="tx1"/>
                </a:solidFill>
                <a:sym typeface="Symbol" panose="05050102010706020507" pitchFamily="18" charset="2"/>
              </a:rPr>
              <a:t> </a:t>
            </a:r>
            <a:fld id="{985D5D71-2132-4A0D-A457-AC01235D778F}" type="slidenum">
              <a:rPr lang="en-GB" sz="800" kern="1200" smtClean="0">
                <a:solidFill>
                  <a:schemeClr val="tx1"/>
                </a:solidFill>
                <a:latin typeface="Poppins Medium" panose="02000000000000000000" pitchFamily="2" charset="0"/>
                <a:ea typeface="+mn-ea"/>
                <a:cs typeface="Poppins Medium" panose="02000000000000000000" pitchFamily="2" charset="0"/>
              </a:rPr>
              <a:pPr/>
              <a:t>‹#›</a:t>
            </a:fld>
            <a:endParaRPr lang="en-GB" sz="800" kern="1200" dirty="0">
              <a:solidFill>
                <a:schemeClr val="tx1"/>
              </a:solidFill>
              <a:latin typeface="Poppins Medium" panose="02000000000000000000" pitchFamily="2" charset="0"/>
              <a:ea typeface="+mn-ea"/>
              <a:cs typeface="Poppins Medium" panose="02000000000000000000" pitchFamily="2" charset="0"/>
            </a:endParaRPr>
          </a:p>
        </p:txBody>
      </p:sp>
    </p:spTree>
    <p:extLst>
      <p:ext uri="{BB962C8B-B14F-4D97-AF65-F5344CB8AC3E}">
        <p14:creationId xmlns:p14="http://schemas.microsoft.com/office/powerpoint/2010/main" val="427718654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ivider / statement 1">
    <p:spTree>
      <p:nvGrpSpPr>
        <p:cNvPr id="1" name=""/>
        <p:cNvGrpSpPr/>
        <p:nvPr/>
      </p:nvGrpSpPr>
      <p:grpSpPr>
        <a:xfrm>
          <a:off x="0" y="0"/>
          <a:ext cx="0" cy="0"/>
          <a:chOff x="0" y="0"/>
          <a:chExt cx="0" cy="0"/>
        </a:xfrm>
      </p:grpSpPr>
      <p:sp>
        <p:nvSpPr>
          <p:cNvPr id="9" name="Text Placeholder 9">
            <a:extLst>
              <a:ext uri="{FF2B5EF4-FFF2-40B4-BE49-F238E27FC236}">
                <a16:creationId xmlns:a16="http://schemas.microsoft.com/office/drawing/2014/main" id="{721873C7-C6B0-4F10-A734-04E2202A4785}"/>
              </a:ext>
            </a:extLst>
          </p:cNvPr>
          <p:cNvSpPr>
            <a:spLocks noGrp="1"/>
          </p:cNvSpPr>
          <p:nvPr>
            <p:ph type="body" sz="quarter" idx="11" hasCustomPrompt="1"/>
          </p:nvPr>
        </p:nvSpPr>
        <p:spPr>
          <a:xfrm>
            <a:off x="466725" y="2577419"/>
            <a:ext cx="5455104" cy="947738"/>
          </a:xfrm>
        </p:spPr>
        <p:txBody>
          <a:bodyPr anchor="b"/>
          <a:lstStyle>
            <a:lvl1pPr marL="0" indent="0">
              <a:buNone/>
              <a:defRPr lang="en-GB" sz="2800" kern="1200" dirty="0">
                <a:solidFill>
                  <a:schemeClr val="tx1"/>
                </a:solidFill>
                <a:latin typeface="Poppins SemiBold" panose="02000000000000000000" pitchFamily="2" charset="0"/>
                <a:ea typeface="+mn-ea"/>
                <a:cs typeface="Poppins SemiBold"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Divider/statement slide</a:t>
            </a:r>
            <a:endParaRPr lang="en-GB" dirty="0"/>
          </a:p>
        </p:txBody>
      </p:sp>
      <p:sp>
        <p:nvSpPr>
          <p:cNvPr id="10" name="Text Placeholder 9">
            <a:extLst>
              <a:ext uri="{FF2B5EF4-FFF2-40B4-BE49-F238E27FC236}">
                <a16:creationId xmlns:a16="http://schemas.microsoft.com/office/drawing/2014/main" id="{D635E2F5-E4DF-49DA-A987-8996839F149F}"/>
              </a:ext>
            </a:extLst>
          </p:cNvPr>
          <p:cNvSpPr>
            <a:spLocks noGrp="1"/>
          </p:cNvSpPr>
          <p:nvPr>
            <p:ph type="body" sz="quarter" idx="12" hasCustomPrompt="1"/>
          </p:nvPr>
        </p:nvSpPr>
        <p:spPr>
          <a:xfrm>
            <a:off x="466725" y="3645153"/>
            <a:ext cx="5455104" cy="947738"/>
          </a:xfrm>
        </p:spPr>
        <p:txBody>
          <a:bodyPr anchor="t"/>
          <a:lstStyle>
            <a:lvl1pPr marL="0" indent="0">
              <a:buNone/>
              <a:defRPr lang="en-GB" sz="1900" kern="1200" dirty="0">
                <a:solidFill>
                  <a:schemeClr val="tx1"/>
                </a:solidFill>
                <a:latin typeface="Poppins" panose="02000000000000000000" pitchFamily="2" charset="0"/>
                <a:ea typeface="+mn-ea"/>
                <a:cs typeface="Poppins"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Sub-heading</a:t>
            </a:r>
            <a:endParaRPr lang="en-GB" dirty="0"/>
          </a:p>
        </p:txBody>
      </p:sp>
      <p:sp>
        <p:nvSpPr>
          <p:cNvPr id="5" name="Slide Number Placeholder 5">
            <a:extLst>
              <a:ext uri="{FF2B5EF4-FFF2-40B4-BE49-F238E27FC236}">
                <a16:creationId xmlns:a16="http://schemas.microsoft.com/office/drawing/2014/main" id="{0A3EE1AB-07BC-4182-9234-8D58B0FBAFC3}"/>
              </a:ext>
            </a:extLst>
          </p:cNvPr>
          <p:cNvSpPr txBox="1">
            <a:spLocks/>
          </p:cNvSpPr>
          <p:nvPr userDrawn="1"/>
        </p:nvSpPr>
        <p:spPr>
          <a:xfrm>
            <a:off x="11387579" y="6472153"/>
            <a:ext cx="341983" cy="211451"/>
          </a:xfrm>
          <a:prstGeom prst="rect">
            <a:avLst/>
          </a:prstGeom>
          <a:noFill/>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grpSp>
        <p:nvGrpSpPr>
          <p:cNvPr id="3" name="Group 2">
            <a:extLst>
              <a:ext uri="{FF2B5EF4-FFF2-40B4-BE49-F238E27FC236}">
                <a16:creationId xmlns:a16="http://schemas.microsoft.com/office/drawing/2014/main" id="{493E4467-F06B-47DD-B555-3F56CB227A3D}"/>
              </a:ext>
            </a:extLst>
          </p:cNvPr>
          <p:cNvGrpSpPr/>
          <p:nvPr userDrawn="1"/>
        </p:nvGrpSpPr>
        <p:grpSpPr>
          <a:xfrm>
            <a:off x="0" y="-17657"/>
            <a:ext cx="12192000" cy="6892182"/>
            <a:chOff x="0" y="-17657"/>
            <a:chExt cx="12192000" cy="6892182"/>
          </a:xfrm>
        </p:grpSpPr>
        <p:pic>
          <p:nvPicPr>
            <p:cNvPr id="6" name="Picture 5">
              <a:extLst>
                <a:ext uri="{FF2B5EF4-FFF2-40B4-BE49-F238E27FC236}">
                  <a16:creationId xmlns:a16="http://schemas.microsoft.com/office/drawing/2014/main" id="{389F6031-FE48-4AEC-9FC5-C3EFE0045295}"/>
                </a:ext>
              </a:extLst>
            </p:cNvPr>
            <p:cNvPicPr>
              <a:picLocks noChangeAspect="1"/>
            </p:cNvPicPr>
            <p:nvPr userDrawn="1"/>
          </p:nvPicPr>
          <p:blipFill>
            <a:blip r:embed="rId2"/>
            <a:stretch>
              <a:fillRect/>
            </a:stretch>
          </p:blipFill>
          <p:spPr>
            <a:xfrm>
              <a:off x="0" y="-17657"/>
              <a:ext cx="12192000" cy="6892182"/>
            </a:xfrm>
            <a:prstGeom prst="rect">
              <a:avLst/>
            </a:prstGeom>
          </p:spPr>
        </p:pic>
        <p:sp>
          <p:nvSpPr>
            <p:cNvPr id="2" name="Oval 1">
              <a:extLst>
                <a:ext uri="{FF2B5EF4-FFF2-40B4-BE49-F238E27FC236}">
                  <a16:creationId xmlns:a16="http://schemas.microsoft.com/office/drawing/2014/main" id="{EECE8109-0B50-40F4-8FFA-A6279A083C32}"/>
                </a:ext>
              </a:extLst>
            </p:cNvPr>
            <p:cNvSpPr>
              <a:spLocks noChangeAspect="1"/>
            </p:cNvSpPr>
            <p:nvPr userDrawn="1"/>
          </p:nvSpPr>
          <p:spPr>
            <a:xfrm>
              <a:off x="9574924" y="5256529"/>
              <a:ext cx="720000" cy="720000"/>
            </a:xfrm>
            <a:prstGeom prst="ellipse">
              <a:avLst/>
            </a:prstGeom>
            <a:solidFill>
              <a:srgbClr val="277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7028084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vider / statement 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7F3AF1D-3EA3-412A-BABF-8F0C9C085A3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Slide Number Placeholder 5">
            <a:extLst>
              <a:ext uri="{FF2B5EF4-FFF2-40B4-BE49-F238E27FC236}">
                <a16:creationId xmlns:a16="http://schemas.microsoft.com/office/drawing/2014/main" id="{9756D388-3092-486D-9083-320B1961BA4A}"/>
              </a:ext>
            </a:extLst>
          </p:cNvPr>
          <p:cNvSpPr txBox="1">
            <a:spLocks/>
          </p:cNvSpPr>
          <p:nvPr userDrawn="1"/>
        </p:nvSpPr>
        <p:spPr>
          <a:xfrm>
            <a:off x="11387579" y="6472153"/>
            <a:ext cx="341983" cy="211451"/>
          </a:xfrm>
          <a:prstGeom prst="rect">
            <a:avLst/>
          </a:prstGeom>
          <a:noFill/>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
        <p:nvSpPr>
          <p:cNvPr id="9" name="Text Placeholder 9">
            <a:extLst>
              <a:ext uri="{FF2B5EF4-FFF2-40B4-BE49-F238E27FC236}">
                <a16:creationId xmlns:a16="http://schemas.microsoft.com/office/drawing/2014/main" id="{080224E0-0476-4C82-AEFD-1F768E41ECBB}"/>
              </a:ext>
            </a:extLst>
          </p:cNvPr>
          <p:cNvSpPr>
            <a:spLocks noGrp="1"/>
          </p:cNvSpPr>
          <p:nvPr>
            <p:ph type="body" sz="quarter" idx="11" hasCustomPrompt="1"/>
          </p:nvPr>
        </p:nvSpPr>
        <p:spPr>
          <a:xfrm>
            <a:off x="466725" y="2577419"/>
            <a:ext cx="5455104" cy="947738"/>
          </a:xfrm>
        </p:spPr>
        <p:txBody>
          <a:bodyPr anchor="b"/>
          <a:lstStyle>
            <a:lvl1pPr marL="0" indent="0">
              <a:buNone/>
              <a:defRPr lang="en-GB" sz="2800" kern="1200" dirty="0">
                <a:solidFill>
                  <a:schemeClr val="bg1"/>
                </a:solidFill>
                <a:latin typeface="Poppins SemiBold" panose="02000000000000000000" pitchFamily="2" charset="0"/>
                <a:ea typeface="+mn-ea"/>
                <a:cs typeface="Poppins SemiBold"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Divider/statement slide</a:t>
            </a:r>
            <a:endParaRPr lang="en-GB" dirty="0"/>
          </a:p>
        </p:txBody>
      </p:sp>
      <p:sp>
        <p:nvSpPr>
          <p:cNvPr id="10" name="Text Placeholder 9">
            <a:extLst>
              <a:ext uri="{FF2B5EF4-FFF2-40B4-BE49-F238E27FC236}">
                <a16:creationId xmlns:a16="http://schemas.microsoft.com/office/drawing/2014/main" id="{F1C79D35-0D5B-4C8A-A36B-599F0BDB166A}"/>
              </a:ext>
            </a:extLst>
          </p:cNvPr>
          <p:cNvSpPr>
            <a:spLocks noGrp="1"/>
          </p:cNvSpPr>
          <p:nvPr>
            <p:ph type="body" sz="quarter" idx="12" hasCustomPrompt="1"/>
          </p:nvPr>
        </p:nvSpPr>
        <p:spPr>
          <a:xfrm>
            <a:off x="466725" y="3645153"/>
            <a:ext cx="5455104" cy="947738"/>
          </a:xfrm>
        </p:spPr>
        <p:txBody>
          <a:bodyPr anchor="t"/>
          <a:lstStyle>
            <a:lvl1pPr marL="0" indent="0">
              <a:buNone/>
              <a:defRPr lang="en-GB" sz="1900" kern="1200" dirty="0">
                <a:solidFill>
                  <a:schemeClr val="bg1"/>
                </a:solidFill>
                <a:latin typeface="Poppins" panose="02000000000000000000" pitchFamily="2" charset="0"/>
                <a:ea typeface="+mn-ea"/>
                <a:cs typeface="Poppins"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Sub-heading</a:t>
            </a:r>
            <a:endParaRPr lang="en-GB" dirty="0"/>
          </a:p>
        </p:txBody>
      </p:sp>
    </p:spTree>
    <p:extLst>
      <p:ext uri="{BB962C8B-B14F-4D97-AF65-F5344CB8AC3E}">
        <p14:creationId xmlns:p14="http://schemas.microsoft.com/office/powerpoint/2010/main" val="9289071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9B1909-85AF-46E7-96DF-9463F73A0C89}"/>
              </a:ext>
            </a:extLst>
          </p:cNvPr>
          <p:cNvSpPr>
            <a:spLocks noGrp="1"/>
          </p:cNvSpPr>
          <p:nvPr>
            <p:ph type="title" hasCustomPrompt="1"/>
          </p:nvPr>
        </p:nvSpPr>
        <p:spPr/>
        <p:txBody>
          <a:bodyPr/>
          <a:lstStyle/>
          <a:p>
            <a:r>
              <a:rPr lang="en-US"/>
              <a:t>Click to edit title</a:t>
            </a:r>
            <a:endParaRPr lang="en-GB"/>
          </a:p>
        </p:txBody>
      </p:sp>
      <p:sp>
        <p:nvSpPr>
          <p:cNvPr id="3" name="Content Placeholder 2">
            <a:extLst>
              <a:ext uri="{FF2B5EF4-FFF2-40B4-BE49-F238E27FC236}">
                <a16:creationId xmlns:a16="http://schemas.microsoft.com/office/drawing/2014/main" id="{9819FF05-8C2F-4B95-B404-18ECCEB5DC53}"/>
              </a:ext>
            </a:extLst>
          </p:cNvPr>
          <p:cNvSpPr>
            <a:spLocks noGrp="1"/>
          </p:cNvSpPr>
          <p:nvPr>
            <p:ph idx="1"/>
          </p:nvPr>
        </p:nvSpPr>
        <p:spPr>
          <a:xfrm>
            <a:off x="719400" y="1720839"/>
            <a:ext cx="6192000" cy="4392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8DD8A7A-DD45-40EA-B659-082A74BD03AE}"/>
              </a:ext>
            </a:extLst>
          </p:cNvPr>
          <p:cNvSpPr>
            <a:spLocks noGrp="1"/>
          </p:cNvSpPr>
          <p:nvPr>
            <p:ph type="dt" sz="half" idx="10"/>
          </p:nvPr>
        </p:nvSpPr>
        <p:spPr/>
        <p:txBody>
          <a:bodyPr/>
          <a:lstStyle/>
          <a:p>
            <a:fld id="{1DF70A67-7B46-4994-A7F9-F71D28767E31}" type="datetime6">
              <a:rPr lang="en-GB" smtClean="0"/>
              <a:t>November 21</a:t>
            </a:fld>
            <a:endParaRPr lang="en-GB"/>
          </a:p>
        </p:txBody>
      </p:sp>
      <p:sp>
        <p:nvSpPr>
          <p:cNvPr id="5" name="Footer Placeholder 4">
            <a:extLst>
              <a:ext uri="{FF2B5EF4-FFF2-40B4-BE49-F238E27FC236}">
                <a16:creationId xmlns:a16="http://schemas.microsoft.com/office/drawing/2014/main" id="{2B26B459-2D50-458C-80B5-1C26A9F846A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7B39F04-CB9E-4BA9-A6F4-71189717EB3D}"/>
              </a:ext>
            </a:extLst>
          </p:cNvPr>
          <p:cNvSpPr>
            <a:spLocks noGrp="1"/>
          </p:cNvSpPr>
          <p:nvPr>
            <p:ph type="sldNum" sz="quarter" idx="12"/>
          </p:nvPr>
        </p:nvSpPr>
        <p:spPr/>
        <p:txBody>
          <a:bodyPr/>
          <a:lstStyle/>
          <a:p>
            <a:fld id="{F4186869-B628-4395-96ED-AD53145CB3D4}" type="slidenum">
              <a:rPr lang="en-GB" smtClean="0"/>
              <a:t>‹#›</a:t>
            </a:fld>
            <a:endParaRPr lang="en-GB"/>
          </a:p>
        </p:txBody>
      </p:sp>
      <p:cxnSp>
        <p:nvCxnSpPr>
          <p:cNvPr id="7" name="Straight Connector 6">
            <a:extLst>
              <a:ext uri="{FF2B5EF4-FFF2-40B4-BE49-F238E27FC236}">
                <a16:creationId xmlns:a16="http://schemas.microsoft.com/office/drawing/2014/main" id="{CC326961-0939-4F2E-BB71-14A4F6F1BC45}"/>
              </a:ext>
            </a:extLst>
          </p:cNvPr>
          <p:cNvCxnSpPr/>
          <p:nvPr userDrawn="1"/>
        </p:nvCxnSpPr>
        <p:spPr>
          <a:xfrm>
            <a:off x="719400" y="1389854"/>
            <a:ext cx="107532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37" name="Picture Placeholder 36">
            <a:extLst>
              <a:ext uri="{FF2B5EF4-FFF2-40B4-BE49-F238E27FC236}">
                <a16:creationId xmlns:a16="http://schemas.microsoft.com/office/drawing/2014/main" id="{5B8BD674-0BEC-49E2-BF3C-1ADABF772F7B}"/>
              </a:ext>
            </a:extLst>
          </p:cNvPr>
          <p:cNvSpPr>
            <a:spLocks noGrp="1"/>
          </p:cNvSpPr>
          <p:nvPr>
            <p:ph type="pic" sz="quarter" idx="13" hasCustomPrompt="1"/>
          </p:nvPr>
        </p:nvSpPr>
        <p:spPr>
          <a:xfrm>
            <a:off x="7405199" y="1720800"/>
            <a:ext cx="4068000" cy="4392000"/>
          </a:xfrm>
          <a:solidFill>
            <a:schemeClr val="bg1">
              <a:lumMod val="95000"/>
            </a:schemeClr>
          </a:solidFill>
        </p:spPr>
        <p:txBody>
          <a:bodyPr anchor="ctr" anchorCtr="0"/>
          <a:lstStyle>
            <a:lvl1pPr algn="ctr">
              <a:defRPr/>
            </a:lvl1pPr>
          </a:lstStyle>
          <a:p>
            <a:r>
              <a:rPr lang="en-GB"/>
              <a:t>Insert image here</a:t>
            </a:r>
          </a:p>
        </p:txBody>
      </p:sp>
      <p:pic>
        <p:nvPicPr>
          <p:cNvPr id="34" name="Picture 33" descr="A picture containing clock, meter&#10;&#10;Description automatically generated">
            <a:extLst>
              <a:ext uri="{FF2B5EF4-FFF2-40B4-BE49-F238E27FC236}">
                <a16:creationId xmlns:a16="http://schemas.microsoft.com/office/drawing/2014/main" id="{C98F1ECB-A6D1-45E8-953E-51A1F4E25B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39476" y="743133"/>
            <a:ext cx="2686047" cy="339724"/>
          </a:xfrm>
          <a:prstGeom prst="rect">
            <a:avLst/>
          </a:prstGeom>
        </p:spPr>
      </p:pic>
    </p:spTree>
    <p:extLst>
      <p:ext uri="{BB962C8B-B14F-4D97-AF65-F5344CB8AC3E}">
        <p14:creationId xmlns:p14="http://schemas.microsoft.com/office/powerpoint/2010/main" val="3261154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vider / statement 3">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5F574A6-3049-4E35-AC0A-0314002C783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339770" y="1233714"/>
            <a:ext cx="7852229" cy="5629433"/>
          </a:xfrm>
          <a:prstGeom prst="rect">
            <a:avLst/>
          </a:prstGeom>
        </p:spPr>
      </p:pic>
      <p:sp>
        <p:nvSpPr>
          <p:cNvPr id="7" name="Slide Number Placeholder 5">
            <a:extLst>
              <a:ext uri="{FF2B5EF4-FFF2-40B4-BE49-F238E27FC236}">
                <a16:creationId xmlns:a16="http://schemas.microsoft.com/office/drawing/2014/main" id="{B02194DB-3D46-45CF-B98F-BE17173B6F59}"/>
              </a:ext>
            </a:extLst>
          </p:cNvPr>
          <p:cNvSpPr txBox="1">
            <a:spLocks/>
          </p:cNvSpPr>
          <p:nvPr userDrawn="1"/>
        </p:nvSpPr>
        <p:spPr>
          <a:xfrm>
            <a:off x="11387579" y="6472153"/>
            <a:ext cx="341983" cy="211451"/>
          </a:xfrm>
          <a:prstGeom prst="rect">
            <a:avLst/>
          </a:prstGeom>
          <a:noFill/>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
        <p:nvSpPr>
          <p:cNvPr id="9" name="Text Placeholder 9">
            <a:extLst>
              <a:ext uri="{FF2B5EF4-FFF2-40B4-BE49-F238E27FC236}">
                <a16:creationId xmlns:a16="http://schemas.microsoft.com/office/drawing/2014/main" id="{EAA76DE0-BB6C-44EB-BBF1-0EE0566A10E7}"/>
              </a:ext>
            </a:extLst>
          </p:cNvPr>
          <p:cNvSpPr>
            <a:spLocks noGrp="1"/>
          </p:cNvSpPr>
          <p:nvPr>
            <p:ph type="body" sz="quarter" idx="11" hasCustomPrompt="1"/>
          </p:nvPr>
        </p:nvSpPr>
        <p:spPr>
          <a:xfrm>
            <a:off x="466725" y="2577419"/>
            <a:ext cx="5455104" cy="947738"/>
          </a:xfrm>
        </p:spPr>
        <p:txBody>
          <a:bodyPr anchor="b"/>
          <a:lstStyle>
            <a:lvl1pPr marL="0" indent="0">
              <a:buNone/>
              <a:defRPr lang="en-GB" sz="2800" kern="1200" dirty="0">
                <a:solidFill>
                  <a:schemeClr val="tx1"/>
                </a:solidFill>
                <a:latin typeface="Poppins SemiBold" panose="02000000000000000000" pitchFamily="2" charset="0"/>
                <a:ea typeface="+mn-ea"/>
                <a:cs typeface="Poppins SemiBold"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Divider/statement slide</a:t>
            </a:r>
            <a:endParaRPr lang="en-GB" dirty="0"/>
          </a:p>
        </p:txBody>
      </p:sp>
      <p:sp>
        <p:nvSpPr>
          <p:cNvPr id="10" name="Text Placeholder 9">
            <a:extLst>
              <a:ext uri="{FF2B5EF4-FFF2-40B4-BE49-F238E27FC236}">
                <a16:creationId xmlns:a16="http://schemas.microsoft.com/office/drawing/2014/main" id="{AEDB77B7-26ED-4319-B10C-03D4439CD646}"/>
              </a:ext>
            </a:extLst>
          </p:cNvPr>
          <p:cNvSpPr>
            <a:spLocks noGrp="1"/>
          </p:cNvSpPr>
          <p:nvPr>
            <p:ph type="body" sz="quarter" idx="12" hasCustomPrompt="1"/>
          </p:nvPr>
        </p:nvSpPr>
        <p:spPr>
          <a:xfrm>
            <a:off x="466725" y="3645153"/>
            <a:ext cx="5455104" cy="947738"/>
          </a:xfrm>
        </p:spPr>
        <p:txBody>
          <a:bodyPr anchor="t"/>
          <a:lstStyle>
            <a:lvl1pPr marL="0" indent="0">
              <a:buNone/>
              <a:defRPr lang="en-GB" sz="1900" kern="1200" dirty="0">
                <a:solidFill>
                  <a:schemeClr val="tx1"/>
                </a:solidFill>
                <a:latin typeface="Poppins" panose="02000000000000000000" pitchFamily="2" charset="0"/>
                <a:ea typeface="+mn-ea"/>
                <a:cs typeface="Poppins"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Sub-heading</a:t>
            </a:r>
            <a:endParaRPr lang="en-GB" dirty="0"/>
          </a:p>
        </p:txBody>
      </p:sp>
    </p:spTree>
    <p:extLst>
      <p:ext uri="{BB962C8B-B14F-4D97-AF65-F5344CB8AC3E}">
        <p14:creationId xmlns:p14="http://schemas.microsoft.com/office/powerpoint/2010/main" val="120329105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e pag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DE5FF99-F090-432D-AC90-928E3924851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065486" y="2235200"/>
            <a:ext cx="7126514" cy="4622800"/>
          </a:xfrm>
          <a:prstGeom prst="rect">
            <a:avLst/>
          </a:prstGeom>
        </p:spPr>
      </p:pic>
      <p:sp>
        <p:nvSpPr>
          <p:cNvPr id="2" name="TextBox 1">
            <a:extLst>
              <a:ext uri="{FF2B5EF4-FFF2-40B4-BE49-F238E27FC236}">
                <a16:creationId xmlns:a16="http://schemas.microsoft.com/office/drawing/2014/main" id="{97DA2CF9-9B30-42F3-BCEA-8FB4097068F3}"/>
              </a:ext>
            </a:extLst>
          </p:cNvPr>
          <p:cNvSpPr txBox="1"/>
          <p:nvPr userDrawn="1"/>
        </p:nvSpPr>
        <p:spPr>
          <a:xfrm>
            <a:off x="383455" y="2781564"/>
            <a:ext cx="319314" cy="384721"/>
          </a:xfrm>
          <a:prstGeom prst="rect">
            <a:avLst/>
          </a:prstGeom>
          <a:noFill/>
        </p:spPr>
        <p:txBody>
          <a:bodyPr wrap="square" rtlCol="0">
            <a:spAutoFit/>
          </a:bodyPr>
          <a:lstStyle/>
          <a:p>
            <a:r>
              <a:rPr lang="en-US" sz="1900" kern="1200" dirty="0">
                <a:solidFill>
                  <a:schemeClr val="tx1"/>
                </a:solidFill>
                <a:latin typeface="Poppins Medium" panose="02000000000000000000" pitchFamily="2" charset="0"/>
                <a:ea typeface="+mn-ea"/>
                <a:cs typeface="Poppins Medium" panose="02000000000000000000" pitchFamily="2" charset="0"/>
              </a:rPr>
              <a:t>“</a:t>
            </a:r>
            <a:endParaRPr lang="en-GB" sz="1900" kern="1200" dirty="0">
              <a:solidFill>
                <a:schemeClr val="tx1"/>
              </a:solidFill>
              <a:latin typeface="Poppins Medium" panose="02000000000000000000" pitchFamily="2" charset="0"/>
              <a:ea typeface="+mn-ea"/>
              <a:cs typeface="Poppins Medium" panose="02000000000000000000" pitchFamily="2" charset="0"/>
            </a:endParaRPr>
          </a:p>
        </p:txBody>
      </p:sp>
      <p:sp>
        <p:nvSpPr>
          <p:cNvPr id="9" name="Slide Number Placeholder 5">
            <a:extLst>
              <a:ext uri="{FF2B5EF4-FFF2-40B4-BE49-F238E27FC236}">
                <a16:creationId xmlns:a16="http://schemas.microsoft.com/office/drawing/2014/main" id="{7D688C7F-FF86-49F3-97BA-61E01E8CDFD4}"/>
              </a:ext>
            </a:extLst>
          </p:cNvPr>
          <p:cNvSpPr txBox="1">
            <a:spLocks/>
          </p:cNvSpPr>
          <p:nvPr userDrawn="1"/>
        </p:nvSpPr>
        <p:spPr>
          <a:xfrm>
            <a:off x="11387579" y="6472153"/>
            <a:ext cx="341983" cy="211451"/>
          </a:xfrm>
          <a:prstGeom prst="rect">
            <a:avLst/>
          </a:prstGeom>
          <a:noFill/>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
        <p:nvSpPr>
          <p:cNvPr id="12" name="Text Placeholder 9">
            <a:extLst>
              <a:ext uri="{FF2B5EF4-FFF2-40B4-BE49-F238E27FC236}">
                <a16:creationId xmlns:a16="http://schemas.microsoft.com/office/drawing/2014/main" id="{CF3B5DA4-E01C-442D-82C0-19B8EB8CB729}"/>
              </a:ext>
            </a:extLst>
          </p:cNvPr>
          <p:cNvSpPr>
            <a:spLocks noGrp="1"/>
          </p:cNvSpPr>
          <p:nvPr>
            <p:ph type="body" sz="quarter" idx="12" hasCustomPrompt="1"/>
          </p:nvPr>
        </p:nvSpPr>
        <p:spPr>
          <a:xfrm>
            <a:off x="558987" y="2818403"/>
            <a:ext cx="6264088" cy="610597"/>
          </a:xfrm>
        </p:spPr>
        <p:txBody>
          <a:bodyPr anchor="t"/>
          <a:lstStyle>
            <a:lvl1pPr marL="0" indent="0">
              <a:buNone/>
              <a:defRPr lang="en-GB" sz="1900" kern="1200" dirty="0">
                <a:solidFill>
                  <a:schemeClr val="tx1"/>
                </a:solidFill>
                <a:latin typeface="Poppins Medium" panose="02000000000000000000" pitchFamily="2" charset="0"/>
                <a:ea typeface="+mn-ea"/>
                <a:cs typeface="Poppins Medium"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Quote.”</a:t>
            </a:r>
            <a:endParaRPr lang="en-GB" dirty="0"/>
          </a:p>
        </p:txBody>
      </p:sp>
      <p:sp>
        <p:nvSpPr>
          <p:cNvPr id="13" name="Text Placeholder 9">
            <a:extLst>
              <a:ext uri="{FF2B5EF4-FFF2-40B4-BE49-F238E27FC236}">
                <a16:creationId xmlns:a16="http://schemas.microsoft.com/office/drawing/2014/main" id="{589676E9-8089-4D1F-ABF2-2E7658931CC7}"/>
              </a:ext>
            </a:extLst>
          </p:cNvPr>
          <p:cNvSpPr>
            <a:spLocks noGrp="1"/>
          </p:cNvSpPr>
          <p:nvPr>
            <p:ph type="body" sz="quarter" idx="13" hasCustomPrompt="1"/>
          </p:nvPr>
        </p:nvSpPr>
        <p:spPr>
          <a:xfrm>
            <a:off x="558987" y="3516903"/>
            <a:ext cx="6264088" cy="610597"/>
          </a:xfrm>
        </p:spPr>
        <p:txBody>
          <a:bodyPr anchor="t"/>
          <a:lstStyle>
            <a:lvl1pPr marL="0" indent="0">
              <a:buNone/>
              <a:defRPr lang="en-GB" sz="1900" kern="1200" dirty="0">
                <a:solidFill>
                  <a:schemeClr val="tx1"/>
                </a:solidFill>
                <a:latin typeface="Poppins" panose="02000000000000000000" pitchFamily="2" charset="0"/>
                <a:ea typeface="+mn-ea"/>
                <a:cs typeface="Poppins"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lvl="0"/>
            <a:r>
              <a:rPr lang="en-US" dirty="0"/>
              <a:t>Member name / logo</a:t>
            </a:r>
            <a:endParaRPr lang="en-GB" dirty="0"/>
          </a:p>
        </p:txBody>
      </p:sp>
      <p:sp>
        <p:nvSpPr>
          <p:cNvPr id="14" name="Text Placeholder 9">
            <a:extLst>
              <a:ext uri="{FF2B5EF4-FFF2-40B4-BE49-F238E27FC236}">
                <a16:creationId xmlns:a16="http://schemas.microsoft.com/office/drawing/2014/main" id="{FE01AFEC-A5FE-4F80-ABC1-E21D30F02C44}"/>
              </a:ext>
            </a:extLst>
          </p:cNvPr>
          <p:cNvSpPr>
            <a:spLocks noGrp="1"/>
          </p:cNvSpPr>
          <p:nvPr>
            <p:ph type="body" sz="quarter" idx="14" hasCustomPrompt="1"/>
          </p:nvPr>
        </p:nvSpPr>
        <p:spPr>
          <a:xfrm>
            <a:off x="479611" y="2121164"/>
            <a:ext cx="6343463" cy="610597"/>
          </a:xfrm>
        </p:spPr>
        <p:txBody>
          <a:bodyPr anchor="b"/>
          <a:lstStyle>
            <a:lvl1pPr marL="0" indent="0">
              <a:buNone/>
              <a:defRPr lang="en-GB" sz="2800" kern="1200" cap="all" baseline="0" dirty="0">
                <a:solidFill>
                  <a:schemeClr val="tx1"/>
                </a:solidFill>
                <a:latin typeface="Poppins SemiBold" panose="02000000000000000000" pitchFamily="2" charset="0"/>
                <a:ea typeface="+mn-ea"/>
                <a:cs typeface="Poppins SemiBold"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marL="0" lvl="0" indent="0" algn="l" defTabSz="914400" rtl="0" eaLnBrk="1" latinLnBrk="0" hangingPunct="1">
              <a:lnSpc>
                <a:spcPct val="105000"/>
              </a:lnSpc>
              <a:spcBef>
                <a:spcPts val="1000"/>
              </a:spcBef>
              <a:buFont typeface="Wingdings 2" panose="05020102010507070707" pitchFamily="18" charset="2"/>
              <a:buNone/>
            </a:pPr>
            <a:r>
              <a:rPr lang="en-US" dirty="0"/>
              <a:t>Member name</a:t>
            </a:r>
            <a:endParaRPr lang="en-GB" dirty="0"/>
          </a:p>
        </p:txBody>
      </p:sp>
    </p:spTree>
    <p:extLst>
      <p:ext uri="{BB962C8B-B14F-4D97-AF65-F5344CB8AC3E}">
        <p14:creationId xmlns:p14="http://schemas.microsoft.com/office/powerpoint/2010/main" val="343108442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or diagram slide b">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24D6E88-7EA6-415C-9C96-337D3DA47F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8810170" y="5457371"/>
            <a:ext cx="3381829" cy="1404797"/>
          </a:xfrm>
          <a:prstGeom prst="rect">
            <a:avLst/>
          </a:prstGeom>
        </p:spPr>
      </p:pic>
      <p:sp>
        <p:nvSpPr>
          <p:cNvPr id="2" name="Title 1">
            <a:extLst>
              <a:ext uri="{FF2B5EF4-FFF2-40B4-BE49-F238E27FC236}">
                <a16:creationId xmlns:a16="http://schemas.microsoft.com/office/drawing/2014/main" id="{086B2ED4-0683-4869-85D3-EDA0DE8E01EB}"/>
              </a:ext>
            </a:extLst>
          </p:cNvPr>
          <p:cNvSpPr>
            <a:spLocks noGrp="1"/>
          </p:cNvSpPr>
          <p:nvPr>
            <p:ph type="title" hasCustomPrompt="1"/>
          </p:nvPr>
        </p:nvSpPr>
        <p:spPr>
          <a:xfrm>
            <a:off x="472917" y="0"/>
            <a:ext cx="8130310" cy="852602"/>
          </a:xfrm>
        </p:spPr>
        <p:txBody>
          <a:bodyPr/>
          <a:lstStyle>
            <a:lvl1pPr>
              <a:defRPr>
                <a:solidFill>
                  <a:schemeClr val="tx1"/>
                </a:solidFill>
              </a:defRPr>
            </a:lvl1pPr>
          </a:lstStyle>
          <a:p>
            <a:r>
              <a:rPr lang="en-GB" dirty="0"/>
              <a:t>Image or diagram slide</a:t>
            </a:r>
          </a:p>
        </p:txBody>
      </p:sp>
      <p:sp>
        <p:nvSpPr>
          <p:cNvPr id="5" name="Slide Number Placeholder 5">
            <a:extLst>
              <a:ext uri="{FF2B5EF4-FFF2-40B4-BE49-F238E27FC236}">
                <a16:creationId xmlns:a16="http://schemas.microsoft.com/office/drawing/2014/main" id="{3EE08843-0DDD-4D7C-9AA4-5F3B9B2EC431}"/>
              </a:ext>
            </a:extLst>
          </p:cNvPr>
          <p:cNvSpPr txBox="1">
            <a:spLocks/>
          </p:cNvSpPr>
          <p:nvPr userDrawn="1"/>
        </p:nvSpPr>
        <p:spPr>
          <a:xfrm>
            <a:off x="11387579"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
        <p:nvSpPr>
          <p:cNvPr id="8" name="Text Placeholder 9">
            <a:extLst>
              <a:ext uri="{FF2B5EF4-FFF2-40B4-BE49-F238E27FC236}">
                <a16:creationId xmlns:a16="http://schemas.microsoft.com/office/drawing/2014/main" id="{56B6317A-B543-419B-B555-D797CE09C44B}"/>
              </a:ext>
            </a:extLst>
          </p:cNvPr>
          <p:cNvSpPr>
            <a:spLocks noGrp="1"/>
          </p:cNvSpPr>
          <p:nvPr>
            <p:ph type="body" sz="quarter" idx="12" hasCustomPrompt="1"/>
          </p:nvPr>
        </p:nvSpPr>
        <p:spPr>
          <a:xfrm>
            <a:off x="463808" y="903074"/>
            <a:ext cx="8139419" cy="729174"/>
          </a:xfrm>
        </p:spPr>
        <p:txBody>
          <a:bodyPr anchor="t"/>
          <a:lstStyle>
            <a:lvl1pPr marL="0" indent="0">
              <a:buNone/>
              <a:defRPr lang="en-GB" sz="2000" kern="1200" dirty="0">
                <a:solidFill>
                  <a:schemeClr val="tx1"/>
                </a:solidFill>
                <a:latin typeface="Poppins Medium" panose="02000000000000000000" pitchFamily="2" charset="0"/>
                <a:ea typeface="+mn-ea"/>
                <a:cs typeface="Poppins Medium"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marL="0" lvl="0" indent="0" algn="l" defTabSz="914400" rtl="0" eaLnBrk="1" latinLnBrk="0" hangingPunct="1">
              <a:lnSpc>
                <a:spcPct val="105000"/>
              </a:lnSpc>
              <a:spcBef>
                <a:spcPts val="1000"/>
              </a:spcBef>
              <a:buFont typeface="Wingdings 2" panose="05020102010507070707" pitchFamily="18" charset="2"/>
              <a:buNone/>
            </a:pPr>
            <a:r>
              <a:rPr lang="en-US" dirty="0"/>
              <a:t>Sub-heading</a:t>
            </a:r>
            <a:endParaRPr lang="en-GB" dirty="0"/>
          </a:p>
        </p:txBody>
      </p:sp>
    </p:spTree>
    <p:extLst>
      <p:ext uri="{BB962C8B-B14F-4D97-AF65-F5344CB8AC3E}">
        <p14:creationId xmlns:p14="http://schemas.microsoft.com/office/powerpoint/2010/main" val="182408726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or diagram slide c">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5944F0F-F605-4EB8-9C41-9DE6EEA4E25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9695542" y="4064000"/>
            <a:ext cx="2496457" cy="2799147"/>
          </a:xfrm>
          <a:prstGeom prst="rect">
            <a:avLst/>
          </a:prstGeom>
        </p:spPr>
      </p:pic>
      <p:sp>
        <p:nvSpPr>
          <p:cNvPr id="2" name="Title 1">
            <a:extLst>
              <a:ext uri="{FF2B5EF4-FFF2-40B4-BE49-F238E27FC236}">
                <a16:creationId xmlns:a16="http://schemas.microsoft.com/office/drawing/2014/main" id="{086B2ED4-0683-4869-85D3-EDA0DE8E01EB}"/>
              </a:ext>
            </a:extLst>
          </p:cNvPr>
          <p:cNvSpPr>
            <a:spLocks noGrp="1"/>
          </p:cNvSpPr>
          <p:nvPr>
            <p:ph type="title" hasCustomPrompt="1"/>
          </p:nvPr>
        </p:nvSpPr>
        <p:spPr>
          <a:xfrm>
            <a:off x="472917" y="3901"/>
            <a:ext cx="8159083" cy="852602"/>
          </a:xfrm>
        </p:spPr>
        <p:txBody>
          <a:bodyPr/>
          <a:lstStyle>
            <a:lvl1pPr>
              <a:defRPr>
                <a:solidFill>
                  <a:schemeClr val="tx1"/>
                </a:solidFill>
              </a:defRPr>
            </a:lvl1pPr>
          </a:lstStyle>
          <a:p>
            <a:r>
              <a:rPr lang="en-GB" dirty="0"/>
              <a:t>Image or diagram slide</a:t>
            </a:r>
          </a:p>
        </p:txBody>
      </p:sp>
      <p:sp>
        <p:nvSpPr>
          <p:cNvPr id="5" name="Slide Number Placeholder 5">
            <a:extLst>
              <a:ext uri="{FF2B5EF4-FFF2-40B4-BE49-F238E27FC236}">
                <a16:creationId xmlns:a16="http://schemas.microsoft.com/office/drawing/2014/main" id="{3EE08843-0DDD-4D7C-9AA4-5F3B9B2EC431}"/>
              </a:ext>
            </a:extLst>
          </p:cNvPr>
          <p:cNvSpPr txBox="1">
            <a:spLocks/>
          </p:cNvSpPr>
          <p:nvPr userDrawn="1"/>
        </p:nvSpPr>
        <p:spPr>
          <a:xfrm>
            <a:off x="11387579"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
        <p:nvSpPr>
          <p:cNvPr id="6" name="Text Placeholder 9">
            <a:extLst>
              <a:ext uri="{FF2B5EF4-FFF2-40B4-BE49-F238E27FC236}">
                <a16:creationId xmlns:a16="http://schemas.microsoft.com/office/drawing/2014/main" id="{3C1E292A-4F87-4AD1-A86C-22D64536E440}"/>
              </a:ext>
            </a:extLst>
          </p:cNvPr>
          <p:cNvSpPr>
            <a:spLocks noGrp="1"/>
          </p:cNvSpPr>
          <p:nvPr>
            <p:ph type="body" sz="quarter" idx="12" hasCustomPrompt="1"/>
          </p:nvPr>
        </p:nvSpPr>
        <p:spPr>
          <a:xfrm>
            <a:off x="463809" y="903074"/>
            <a:ext cx="8159082" cy="729174"/>
          </a:xfrm>
        </p:spPr>
        <p:txBody>
          <a:bodyPr anchor="t"/>
          <a:lstStyle>
            <a:lvl1pPr marL="0" indent="0">
              <a:buNone/>
              <a:defRPr lang="en-GB" sz="2000" kern="1200" dirty="0">
                <a:solidFill>
                  <a:schemeClr val="tx1"/>
                </a:solidFill>
                <a:latin typeface="Poppins Medium" panose="02000000000000000000" pitchFamily="2" charset="0"/>
                <a:ea typeface="+mn-ea"/>
                <a:cs typeface="Poppins Medium" panose="02000000000000000000" pitchFamily="2" charset="0"/>
              </a:defRPr>
            </a:lvl1pPr>
            <a:lvl2pPr marL="246063" indent="0">
              <a:buNone/>
              <a:defRPr/>
            </a:lvl2pPr>
            <a:lvl3pPr marL="517525" indent="0">
              <a:buNone/>
              <a:defRPr/>
            </a:lvl3pPr>
            <a:lvl4pPr marL="763588" indent="0">
              <a:buNone/>
              <a:defRPr/>
            </a:lvl4pPr>
            <a:lvl5pPr marL="1057275" indent="0">
              <a:buNone/>
              <a:defRPr/>
            </a:lvl5pPr>
          </a:lstStyle>
          <a:p>
            <a:pPr marL="0" lvl="0" indent="0" algn="l" defTabSz="914400" rtl="0" eaLnBrk="1" latinLnBrk="0" hangingPunct="1">
              <a:lnSpc>
                <a:spcPct val="105000"/>
              </a:lnSpc>
              <a:spcBef>
                <a:spcPts val="1000"/>
              </a:spcBef>
              <a:buFont typeface="Wingdings 2" panose="05020102010507070707" pitchFamily="18" charset="2"/>
              <a:buNone/>
            </a:pPr>
            <a:r>
              <a:rPr lang="en-US" dirty="0"/>
              <a:t>Sub-heading</a:t>
            </a:r>
            <a:endParaRPr lang="en-GB" dirty="0"/>
          </a:p>
        </p:txBody>
      </p:sp>
    </p:spTree>
    <p:extLst>
      <p:ext uri="{BB962C8B-B14F-4D97-AF65-F5344CB8AC3E}">
        <p14:creationId xmlns:p14="http://schemas.microsoft.com/office/powerpoint/2010/main" val="94218848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2BDE0A88-1698-4357-8180-2BCB9EA8EFE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384800" y="812800"/>
            <a:ext cx="6807200" cy="6049368"/>
          </a:xfrm>
          <a:prstGeom prst="rect">
            <a:avLst/>
          </a:prstGeom>
        </p:spPr>
      </p:pic>
      <p:sp>
        <p:nvSpPr>
          <p:cNvPr id="3" name="Content Placeholder 2">
            <a:extLst>
              <a:ext uri="{FF2B5EF4-FFF2-40B4-BE49-F238E27FC236}">
                <a16:creationId xmlns:a16="http://schemas.microsoft.com/office/drawing/2014/main" id="{554F0A75-3481-44BF-B53C-CF96990D8914}"/>
              </a:ext>
            </a:extLst>
          </p:cNvPr>
          <p:cNvSpPr>
            <a:spLocks noGrp="1"/>
          </p:cNvSpPr>
          <p:nvPr>
            <p:ph idx="1" hasCustomPrompt="1"/>
          </p:nvPr>
        </p:nvSpPr>
        <p:spPr>
          <a:xfrm>
            <a:off x="472917" y="2922062"/>
            <a:ext cx="3467965" cy="266350"/>
          </a:xfrm>
        </p:spPr>
        <p:txBody>
          <a:bodyPr/>
          <a:lstStyle>
            <a:lvl1pPr marL="0" indent="0">
              <a:buNone/>
              <a:defRPr sz="1500">
                <a:solidFill>
                  <a:schemeClr val="tx1"/>
                </a:solidFill>
              </a:defRPr>
            </a:lvl1pPr>
            <a:lvl2pPr marL="246063" indent="0">
              <a:buNone/>
              <a:defRPr>
                <a:solidFill>
                  <a:schemeClr val="tx1"/>
                </a:solidFill>
              </a:defRPr>
            </a:lvl2pPr>
            <a:lvl3pPr marL="517525" indent="0">
              <a:buNone/>
              <a:defRPr>
                <a:solidFill>
                  <a:schemeClr val="tx1"/>
                </a:solidFill>
              </a:defRPr>
            </a:lvl3pPr>
            <a:lvl4pPr marL="763588" indent="0">
              <a:buNone/>
              <a:defRPr>
                <a:solidFill>
                  <a:schemeClr val="tx1"/>
                </a:solidFill>
              </a:defRPr>
            </a:lvl4pPr>
            <a:lvl5pPr marL="1057275" indent="0">
              <a:buNone/>
              <a:defRPr>
                <a:solidFill>
                  <a:schemeClr val="tx1"/>
                </a:solidFill>
              </a:defRPr>
            </a:lvl5pPr>
          </a:lstStyle>
          <a:p>
            <a:pPr lvl="0"/>
            <a:r>
              <a:rPr lang="en-US" dirty="0"/>
              <a:t>Name Titles</a:t>
            </a:r>
            <a:endParaRPr lang="en-GB" dirty="0"/>
          </a:p>
        </p:txBody>
      </p:sp>
      <p:sp>
        <p:nvSpPr>
          <p:cNvPr id="10" name="Content Placeholder 2">
            <a:extLst>
              <a:ext uri="{FF2B5EF4-FFF2-40B4-BE49-F238E27FC236}">
                <a16:creationId xmlns:a16="http://schemas.microsoft.com/office/drawing/2014/main" id="{039A902B-6F15-471D-AC28-9D9A247F7607}"/>
              </a:ext>
            </a:extLst>
          </p:cNvPr>
          <p:cNvSpPr>
            <a:spLocks noGrp="1"/>
          </p:cNvSpPr>
          <p:nvPr>
            <p:ph idx="12" hasCustomPrompt="1"/>
          </p:nvPr>
        </p:nvSpPr>
        <p:spPr>
          <a:xfrm>
            <a:off x="472917" y="3215577"/>
            <a:ext cx="3467965" cy="266350"/>
          </a:xfrm>
        </p:spPr>
        <p:txBody>
          <a:bodyPr/>
          <a:lstStyle>
            <a:lvl1pPr marL="0" indent="0">
              <a:buNone/>
              <a:defRPr sz="1500">
                <a:solidFill>
                  <a:schemeClr val="tx1"/>
                </a:solidFill>
                <a:latin typeface="Poppins Light" panose="02000000000000000000" pitchFamily="2" charset="0"/>
                <a:cs typeface="Poppins Light" panose="02000000000000000000" pitchFamily="2" charset="0"/>
              </a:defRPr>
            </a:lvl1pPr>
            <a:lvl2pPr marL="246063" indent="0">
              <a:buNone/>
              <a:defRPr>
                <a:solidFill>
                  <a:schemeClr val="tx1"/>
                </a:solidFill>
              </a:defRPr>
            </a:lvl2pPr>
            <a:lvl3pPr marL="517525" indent="0">
              <a:buNone/>
              <a:defRPr>
                <a:solidFill>
                  <a:schemeClr val="tx1"/>
                </a:solidFill>
              </a:defRPr>
            </a:lvl3pPr>
            <a:lvl4pPr marL="763588" indent="0">
              <a:buNone/>
              <a:defRPr>
                <a:solidFill>
                  <a:schemeClr val="tx1"/>
                </a:solidFill>
              </a:defRPr>
            </a:lvl4pPr>
            <a:lvl5pPr marL="1057275" indent="0">
              <a:buNone/>
              <a:defRPr>
                <a:solidFill>
                  <a:schemeClr val="tx1"/>
                </a:solidFill>
              </a:defRPr>
            </a:lvl5pPr>
          </a:lstStyle>
          <a:p>
            <a:pPr lvl="0"/>
            <a:r>
              <a:rPr lang="en-US" dirty="0"/>
              <a:t>Position</a:t>
            </a:r>
            <a:endParaRPr lang="en-GB" dirty="0"/>
          </a:p>
        </p:txBody>
      </p:sp>
      <p:sp>
        <p:nvSpPr>
          <p:cNvPr id="13" name="Content Placeholder 2">
            <a:extLst>
              <a:ext uri="{FF2B5EF4-FFF2-40B4-BE49-F238E27FC236}">
                <a16:creationId xmlns:a16="http://schemas.microsoft.com/office/drawing/2014/main" id="{293907FB-CEAC-4CCB-871B-332DB1373F35}"/>
              </a:ext>
            </a:extLst>
          </p:cNvPr>
          <p:cNvSpPr>
            <a:spLocks noGrp="1"/>
          </p:cNvSpPr>
          <p:nvPr>
            <p:ph idx="13" hasCustomPrompt="1"/>
          </p:nvPr>
        </p:nvSpPr>
        <p:spPr>
          <a:xfrm>
            <a:off x="687604" y="3505807"/>
            <a:ext cx="3253278" cy="266350"/>
          </a:xfrm>
        </p:spPr>
        <p:txBody>
          <a:bodyPr/>
          <a:lstStyle>
            <a:lvl1pPr marL="0" indent="0">
              <a:buNone/>
              <a:defRPr lang="en-GB" sz="1500" kern="1200" dirty="0">
                <a:solidFill>
                  <a:schemeClr val="tx1"/>
                </a:solidFill>
                <a:latin typeface="Poppins Light" panose="02000000000000000000" pitchFamily="2" charset="0"/>
                <a:ea typeface="+mn-ea"/>
                <a:cs typeface="Poppins Light" panose="02000000000000000000" pitchFamily="2" charset="0"/>
              </a:defRPr>
            </a:lvl1pPr>
            <a:lvl2pPr marL="246063" indent="0">
              <a:buNone/>
              <a:defRPr>
                <a:solidFill>
                  <a:schemeClr val="tx1"/>
                </a:solidFill>
              </a:defRPr>
            </a:lvl2pPr>
            <a:lvl3pPr marL="517525" indent="0">
              <a:buNone/>
              <a:defRPr>
                <a:solidFill>
                  <a:schemeClr val="tx1"/>
                </a:solidFill>
              </a:defRPr>
            </a:lvl3pPr>
            <a:lvl4pPr marL="763588" indent="0">
              <a:buNone/>
              <a:defRPr>
                <a:solidFill>
                  <a:schemeClr val="tx1"/>
                </a:solidFill>
              </a:defRPr>
            </a:lvl4pPr>
            <a:lvl5pPr marL="1057275" indent="0">
              <a:buNone/>
              <a:defRPr>
                <a:solidFill>
                  <a:schemeClr val="tx1"/>
                </a:solidFill>
              </a:defRPr>
            </a:lvl5pPr>
          </a:lstStyle>
          <a:p>
            <a:pPr lvl="0"/>
            <a:r>
              <a:rPr lang="en-US" dirty="0"/>
              <a:t>first.surname@zemo.org.uk</a:t>
            </a:r>
            <a:endParaRPr lang="en-GB" dirty="0"/>
          </a:p>
        </p:txBody>
      </p:sp>
      <p:sp>
        <p:nvSpPr>
          <p:cNvPr id="6" name="TextBox 5">
            <a:extLst>
              <a:ext uri="{FF2B5EF4-FFF2-40B4-BE49-F238E27FC236}">
                <a16:creationId xmlns:a16="http://schemas.microsoft.com/office/drawing/2014/main" id="{FDD0D16A-39D6-4862-A374-32FC3DB7D4A1}"/>
              </a:ext>
            </a:extLst>
          </p:cNvPr>
          <p:cNvSpPr txBox="1"/>
          <p:nvPr userDrawn="1"/>
        </p:nvSpPr>
        <p:spPr>
          <a:xfrm>
            <a:off x="368515" y="3508673"/>
            <a:ext cx="383557" cy="323165"/>
          </a:xfrm>
          <a:prstGeom prst="rect">
            <a:avLst/>
          </a:prstGeom>
          <a:noFill/>
        </p:spPr>
        <p:txBody>
          <a:bodyPr wrap="square" rtlCol="0">
            <a:spAutoFit/>
          </a:bodyPr>
          <a:lstStyle/>
          <a:p>
            <a:r>
              <a:rPr lang="en-GB" sz="1500" kern="1200" dirty="0">
                <a:solidFill>
                  <a:schemeClr val="tx1"/>
                </a:solidFill>
                <a:latin typeface="Poppins Medium" panose="02000000000000000000" pitchFamily="2" charset="0"/>
                <a:ea typeface="+mn-ea"/>
                <a:cs typeface="Poppins Medium" panose="02000000000000000000" pitchFamily="2" charset="0"/>
              </a:rPr>
              <a:t>E:</a:t>
            </a:r>
          </a:p>
        </p:txBody>
      </p:sp>
      <p:sp>
        <p:nvSpPr>
          <p:cNvPr id="16" name="Content Placeholder 2">
            <a:extLst>
              <a:ext uri="{FF2B5EF4-FFF2-40B4-BE49-F238E27FC236}">
                <a16:creationId xmlns:a16="http://schemas.microsoft.com/office/drawing/2014/main" id="{D29B91F5-A2AF-4954-8C6C-D7AA65699259}"/>
              </a:ext>
            </a:extLst>
          </p:cNvPr>
          <p:cNvSpPr>
            <a:spLocks noGrp="1"/>
          </p:cNvSpPr>
          <p:nvPr>
            <p:ph idx="15" hasCustomPrompt="1"/>
          </p:nvPr>
        </p:nvSpPr>
        <p:spPr>
          <a:xfrm>
            <a:off x="472917" y="4561820"/>
            <a:ext cx="3467965" cy="266350"/>
          </a:xfrm>
        </p:spPr>
        <p:txBody>
          <a:bodyPr/>
          <a:lstStyle>
            <a:lvl1pPr marL="0" indent="0">
              <a:buNone/>
              <a:defRPr sz="1500">
                <a:solidFill>
                  <a:schemeClr val="tx1"/>
                </a:solidFill>
              </a:defRPr>
            </a:lvl1pPr>
            <a:lvl2pPr marL="246063" indent="0">
              <a:buNone/>
              <a:defRPr>
                <a:solidFill>
                  <a:schemeClr val="tx1"/>
                </a:solidFill>
              </a:defRPr>
            </a:lvl2pPr>
            <a:lvl3pPr marL="517525" indent="0">
              <a:buNone/>
              <a:defRPr>
                <a:solidFill>
                  <a:schemeClr val="tx1"/>
                </a:solidFill>
              </a:defRPr>
            </a:lvl3pPr>
            <a:lvl4pPr marL="763588" indent="0">
              <a:buNone/>
              <a:defRPr>
                <a:solidFill>
                  <a:schemeClr val="tx1"/>
                </a:solidFill>
              </a:defRPr>
            </a:lvl4pPr>
            <a:lvl5pPr marL="1057275" indent="0">
              <a:buNone/>
              <a:defRPr>
                <a:solidFill>
                  <a:schemeClr val="tx1"/>
                </a:solidFill>
              </a:defRPr>
            </a:lvl5pPr>
          </a:lstStyle>
          <a:p>
            <a:pPr lvl="0"/>
            <a:r>
              <a:rPr lang="en-US" dirty="0"/>
              <a:t>Name Titles</a:t>
            </a:r>
            <a:endParaRPr lang="en-GB" dirty="0"/>
          </a:p>
        </p:txBody>
      </p:sp>
      <p:sp>
        <p:nvSpPr>
          <p:cNvPr id="17" name="Content Placeholder 2">
            <a:extLst>
              <a:ext uri="{FF2B5EF4-FFF2-40B4-BE49-F238E27FC236}">
                <a16:creationId xmlns:a16="http://schemas.microsoft.com/office/drawing/2014/main" id="{B5D1F643-1457-4B44-8F5C-776486B075A4}"/>
              </a:ext>
            </a:extLst>
          </p:cNvPr>
          <p:cNvSpPr>
            <a:spLocks noGrp="1"/>
          </p:cNvSpPr>
          <p:nvPr>
            <p:ph idx="16" hasCustomPrompt="1"/>
          </p:nvPr>
        </p:nvSpPr>
        <p:spPr>
          <a:xfrm>
            <a:off x="472917" y="4845811"/>
            <a:ext cx="3467965" cy="266350"/>
          </a:xfrm>
        </p:spPr>
        <p:txBody>
          <a:bodyPr/>
          <a:lstStyle>
            <a:lvl1pPr marL="0" indent="0">
              <a:buNone/>
              <a:defRPr sz="1500">
                <a:solidFill>
                  <a:schemeClr val="tx1"/>
                </a:solidFill>
                <a:latin typeface="Poppins Light" panose="02000000000000000000" pitchFamily="2" charset="0"/>
                <a:cs typeface="Poppins Light" panose="02000000000000000000" pitchFamily="2" charset="0"/>
              </a:defRPr>
            </a:lvl1pPr>
            <a:lvl2pPr marL="246063" indent="0">
              <a:buNone/>
              <a:defRPr>
                <a:solidFill>
                  <a:schemeClr val="tx1"/>
                </a:solidFill>
              </a:defRPr>
            </a:lvl2pPr>
            <a:lvl3pPr marL="517525" indent="0">
              <a:buNone/>
              <a:defRPr>
                <a:solidFill>
                  <a:schemeClr val="tx1"/>
                </a:solidFill>
              </a:defRPr>
            </a:lvl3pPr>
            <a:lvl4pPr marL="763588" indent="0">
              <a:buNone/>
              <a:defRPr>
                <a:solidFill>
                  <a:schemeClr val="tx1"/>
                </a:solidFill>
              </a:defRPr>
            </a:lvl4pPr>
            <a:lvl5pPr marL="1057275" indent="0">
              <a:buNone/>
              <a:defRPr>
                <a:solidFill>
                  <a:schemeClr val="tx1"/>
                </a:solidFill>
              </a:defRPr>
            </a:lvl5pPr>
          </a:lstStyle>
          <a:p>
            <a:pPr lvl="0"/>
            <a:r>
              <a:rPr lang="en-US" dirty="0"/>
              <a:t>Position</a:t>
            </a:r>
            <a:endParaRPr lang="en-GB" dirty="0"/>
          </a:p>
        </p:txBody>
      </p:sp>
      <p:sp>
        <p:nvSpPr>
          <p:cNvPr id="18" name="Content Placeholder 2">
            <a:extLst>
              <a:ext uri="{FF2B5EF4-FFF2-40B4-BE49-F238E27FC236}">
                <a16:creationId xmlns:a16="http://schemas.microsoft.com/office/drawing/2014/main" id="{3C0CCBD9-43D1-4A68-B9E7-025D077D8566}"/>
              </a:ext>
            </a:extLst>
          </p:cNvPr>
          <p:cNvSpPr>
            <a:spLocks noGrp="1"/>
          </p:cNvSpPr>
          <p:nvPr>
            <p:ph idx="17" hasCustomPrompt="1"/>
          </p:nvPr>
        </p:nvSpPr>
        <p:spPr>
          <a:xfrm>
            <a:off x="687604" y="5124793"/>
            <a:ext cx="3253278" cy="266350"/>
          </a:xfrm>
        </p:spPr>
        <p:txBody>
          <a:bodyPr/>
          <a:lstStyle>
            <a:lvl1pPr marL="0" indent="0">
              <a:buNone/>
              <a:defRPr sz="1500">
                <a:solidFill>
                  <a:schemeClr val="tx1"/>
                </a:solidFill>
                <a:latin typeface="Poppins Light" panose="02000000000000000000" pitchFamily="2" charset="0"/>
                <a:cs typeface="Poppins Light" panose="02000000000000000000" pitchFamily="2" charset="0"/>
              </a:defRPr>
            </a:lvl1pPr>
            <a:lvl2pPr marL="246063" indent="0">
              <a:buNone/>
              <a:defRPr>
                <a:solidFill>
                  <a:schemeClr val="tx1"/>
                </a:solidFill>
              </a:defRPr>
            </a:lvl2pPr>
            <a:lvl3pPr marL="517525" indent="0">
              <a:buNone/>
              <a:defRPr>
                <a:solidFill>
                  <a:schemeClr val="tx1"/>
                </a:solidFill>
              </a:defRPr>
            </a:lvl3pPr>
            <a:lvl4pPr marL="763588" indent="0">
              <a:buNone/>
              <a:defRPr>
                <a:solidFill>
                  <a:schemeClr val="tx1"/>
                </a:solidFill>
              </a:defRPr>
            </a:lvl4pPr>
            <a:lvl5pPr marL="1057275" indent="0">
              <a:buNone/>
              <a:defRPr>
                <a:solidFill>
                  <a:schemeClr val="tx1"/>
                </a:solidFill>
              </a:defRPr>
            </a:lvl5pPr>
          </a:lstStyle>
          <a:p>
            <a:pPr lvl="0"/>
            <a:r>
              <a:rPr lang="en-US" dirty="0"/>
              <a:t>first.surname@zemo.org.uk</a:t>
            </a:r>
            <a:endParaRPr lang="en-GB" dirty="0"/>
          </a:p>
        </p:txBody>
      </p:sp>
      <p:sp>
        <p:nvSpPr>
          <p:cNvPr id="20" name="TextBox 19">
            <a:extLst>
              <a:ext uri="{FF2B5EF4-FFF2-40B4-BE49-F238E27FC236}">
                <a16:creationId xmlns:a16="http://schemas.microsoft.com/office/drawing/2014/main" id="{DCB3C8EA-C453-4329-8F60-D2CBFEE99243}"/>
              </a:ext>
            </a:extLst>
          </p:cNvPr>
          <p:cNvSpPr txBox="1"/>
          <p:nvPr userDrawn="1"/>
        </p:nvSpPr>
        <p:spPr>
          <a:xfrm>
            <a:off x="368515" y="5133921"/>
            <a:ext cx="383557" cy="323165"/>
          </a:xfrm>
          <a:prstGeom prst="rect">
            <a:avLst/>
          </a:prstGeom>
          <a:noFill/>
        </p:spPr>
        <p:txBody>
          <a:bodyPr wrap="square" rtlCol="0">
            <a:spAutoFit/>
          </a:bodyPr>
          <a:lstStyle/>
          <a:p>
            <a:r>
              <a:rPr lang="en-GB" sz="1500" kern="1200" dirty="0">
                <a:solidFill>
                  <a:schemeClr val="tx1"/>
                </a:solidFill>
                <a:latin typeface="Poppins Medium" panose="02000000000000000000" pitchFamily="2" charset="0"/>
                <a:ea typeface="+mn-ea"/>
                <a:cs typeface="Poppins Medium" panose="02000000000000000000" pitchFamily="2" charset="0"/>
              </a:rPr>
              <a:t>E:</a:t>
            </a:r>
          </a:p>
        </p:txBody>
      </p:sp>
      <p:sp>
        <p:nvSpPr>
          <p:cNvPr id="21" name="TextBox 20">
            <a:extLst>
              <a:ext uri="{FF2B5EF4-FFF2-40B4-BE49-F238E27FC236}">
                <a16:creationId xmlns:a16="http://schemas.microsoft.com/office/drawing/2014/main" id="{28C39E39-CE6A-4EB0-A3AD-04195024B525}"/>
              </a:ext>
            </a:extLst>
          </p:cNvPr>
          <p:cNvSpPr txBox="1"/>
          <p:nvPr userDrawn="1"/>
        </p:nvSpPr>
        <p:spPr>
          <a:xfrm>
            <a:off x="371455" y="5399613"/>
            <a:ext cx="383557" cy="323165"/>
          </a:xfrm>
          <a:prstGeom prst="rect">
            <a:avLst/>
          </a:prstGeom>
          <a:noFill/>
        </p:spPr>
        <p:txBody>
          <a:bodyPr wrap="square" rtlCol="0">
            <a:spAutoFit/>
          </a:bodyPr>
          <a:lstStyle/>
          <a:p>
            <a:r>
              <a:rPr lang="en-GB" sz="1500" kern="1200" dirty="0">
                <a:solidFill>
                  <a:schemeClr val="tx1"/>
                </a:solidFill>
                <a:latin typeface="Poppins Medium" panose="02000000000000000000" pitchFamily="2" charset="0"/>
                <a:ea typeface="+mn-ea"/>
                <a:cs typeface="Poppins Medium" panose="02000000000000000000" pitchFamily="2" charset="0"/>
              </a:rPr>
              <a:t>T:</a:t>
            </a:r>
          </a:p>
        </p:txBody>
      </p:sp>
      <p:sp>
        <p:nvSpPr>
          <p:cNvPr id="22" name="TextBox 21">
            <a:extLst>
              <a:ext uri="{FF2B5EF4-FFF2-40B4-BE49-F238E27FC236}">
                <a16:creationId xmlns:a16="http://schemas.microsoft.com/office/drawing/2014/main" id="{036BC14D-57BC-4927-9399-1E5ED5C057AE}"/>
              </a:ext>
            </a:extLst>
          </p:cNvPr>
          <p:cNvSpPr txBox="1"/>
          <p:nvPr userDrawn="1"/>
        </p:nvSpPr>
        <p:spPr>
          <a:xfrm>
            <a:off x="368515" y="4198952"/>
            <a:ext cx="5476025" cy="338554"/>
          </a:xfrm>
          <a:prstGeom prst="rect">
            <a:avLst/>
          </a:prstGeom>
          <a:noFill/>
        </p:spPr>
        <p:txBody>
          <a:bodyPr wrap="square" rtlCol="0">
            <a:spAutoFit/>
          </a:bodyPr>
          <a:lstStyle/>
          <a:p>
            <a:r>
              <a:rPr lang="en-GB" sz="1600" kern="1200" dirty="0">
                <a:solidFill>
                  <a:schemeClr val="tx1"/>
                </a:solidFill>
                <a:latin typeface="Poppins Medium" panose="02000000000000000000" pitchFamily="2" charset="0"/>
                <a:ea typeface="+mn-ea"/>
                <a:cs typeface="Poppins Medium" panose="02000000000000000000" pitchFamily="2" charset="0"/>
              </a:rPr>
              <a:t>Interested in joining the Partnership?</a:t>
            </a:r>
          </a:p>
        </p:txBody>
      </p:sp>
      <p:sp>
        <p:nvSpPr>
          <p:cNvPr id="24" name="TextBox 23">
            <a:extLst>
              <a:ext uri="{FF2B5EF4-FFF2-40B4-BE49-F238E27FC236}">
                <a16:creationId xmlns:a16="http://schemas.microsoft.com/office/drawing/2014/main" id="{74178BBD-95D4-49F6-8C10-1287AF7E79EC}"/>
              </a:ext>
            </a:extLst>
          </p:cNvPr>
          <p:cNvSpPr txBox="1"/>
          <p:nvPr userDrawn="1"/>
        </p:nvSpPr>
        <p:spPr>
          <a:xfrm>
            <a:off x="373710" y="6051220"/>
            <a:ext cx="5211749" cy="496161"/>
          </a:xfrm>
          <a:prstGeom prst="rect">
            <a:avLst/>
          </a:prstGeom>
          <a:noFill/>
        </p:spPr>
        <p:txBody>
          <a:bodyPr wrap="square" rtlCol="0">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GB" sz="800" dirty="0" err="1">
                <a:solidFill>
                  <a:srgbClr val="000000"/>
                </a:solidFill>
                <a:latin typeface="Poppins SemiBold" panose="02000000000000000000" pitchFamily="2" charset="0"/>
                <a:cs typeface="Poppins SemiBold" panose="02000000000000000000" pitchFamily="2" charset="0"/>
              </a:rPr>
              <a:t>Zemo</a:t>
            </a:r>
            <a:r>
              <a:rPr lang="en-GB" sz="800" dirty="0">
                <a:solidFill>
                  <a:srgbClr val="000000"/>
                </a:solidFill>
                <a:latin typeface="Poppins SemiBold" panose="02000000000000000000" pitchFamily="2" charset="0"/>
                <a:cs typeface="Poppins SemiBold" panose="02000000000000000000" pitchFamily="2" charset="0"/>
              </a:rPr>
              <a:t> Partnership</a:t>
            </a:r>
            <a:r>
              <a:rPr lang="en-GB" sz="800" dirty="0">
                <a:solidFill>
                  <a:srgbClr val="000000"/>
                </a:solidFill>
                <a:latin typeface="Poppins" panose="02000000000000000000" pitchFamily="2" charset="0"/>
                <a:cs typeface="Poppins" panose="02000000000000000000" pitchFamily="2" charset="0"/>
              </a:rPr>
              <a:t>, 3 Birdcage Walk, London SW1H 9JJ</a:t>
            </a:r>
            <a:br>
              <a:rPr lang="en-GB" sz="800" dirty="0">
                <a:solidFill>
                  <a:srgbClr val="000000"/>
                </a:solidFill>
                <a:latin typeface="Poppins" panose="02000000000000000000" pitchFamily="2" charset="0"/>
                <a:cs typeface="Poppins" panose="02000000000000000000" pitchFamily="2" charset="0"/>
              </a:rPr>
            </a:br>
            <a:r>
              <a:rPr lang="en-GB" sz="800" dirty="0">
                <a:solidFill>
                  <a:srgbClr val="000000"/>
                </a:solidFill>
                <a:latin typeface="Poppins" panose="02000000000000000000" pitchFamily="2" charset="0"/>
                <a:cs typeface="Poppins" panose="02000000000000000000" pitchFamily="2" charset="0"/>
              </a:rPr>
              <a:t>T: +44 (0)20 7304 6880  |  E</a:t>
            </a:r>
            <a:r>
              <a:rPr lang="en-GB" sz="800" kern="1200" dirty="0">
                <a:solidFill>
                  <a:srgbClr val="000000"/>
                </a:solidFill>
                <a:latin typeface="Poppins" panose="02000000000000000000" pitchFamily="2" charset="0"/>
                <a:ea typeface="+mn-ea"/>
                <a:cs typeface="Poppins" panose="02000000000000000000" pitchFamily="2" charset="0"/>
              </a:rPr>
              <a:t>: </a:t>
            </a:r>
            <a:r>
              <a:rPr lang="en-GB" sz="800" kern="1200" dirty="0">
                <a:solidFill>
                  <a:srgbClr val="000000"/>
                </a:solidFill>
                <a:latin typeface="Poppins" panose="02000000000000000000" pitchFamily="2" charset="0"/>
                <a:ea typeface="+mn-ea"/>
                <a:cs typeface="Poppins" panose="02000000000000000000" pitchFamily="2" charset="0"/>
                <a:hlinkClick r:id="rId3">
                  <a:extLst>
                    <a:ext uri="{A12FA001-AC4F-418D-AE19-62706E023703}">
                      <ahyp:hlinkClr xmlns:ahyp="http://schemas.microsoft.com/office/drawing/2018/hyperlinkcolor" val="tx"/>
                    </a:ext>
                  </a:extLst>
                </a:hlinkClick>
              </a:rPr>
              <a:t>hello@zemo.org.uk</a:t>
            </a:r>
            <a:r>
              <a:rPr lang="en-GB" sz="800" kern="1200" dirty="0">
                <a:solidFill>
                  <a:srgbClr val="000000"/>
                </a:solidFill>
                <a:latin typeface="Poppins" panose="02000000000000000000" pitchFamily="2" charset="0"/>
                <a:ea typeface="+mn-ea"/>
                <a:cs typeface="Poppins" panose="02000000000000000000" pitchFamily="2" charset="0"/>
              </a:rPr>
              <a:t>         @Zemo_org  |  </a:t>
            </a:r>
            <a:r>
              <a:rPr lang="en-GB" sz="800" kern="1200" dirty="0">
                <a:solidFill>
                  <a:srgbClr val="000000"/>
                </a:solidFill>
                <a:latin typeface="Poppins" panose="02000000000000000000" pitchFamily="2" charset="0"/>
                <a:ea typeface="+mn-ea"/>
                <a:cs typeface="Poppins" panose="02000000000000000000" pitchFamily="2" charset="0"/>
                <a:hlinkClick r:id="rId4">
                  <a:extLst>
                    <a:ext uri="{A12FA001-AC4F-418D-AE19-62706E023703}">
                      <ahyp:hlinkClr xmlns:ahyp="http://schemas.microsoft.com/office/drawing/2018/hyperlinkcolor" val="tx"/>
                    </a:ext>
                  </a:extLst>
                </a:hlinkClick>
              </a:rPr>
              <a:t>www.zemo.org.uk</a:t>
            </a:r>
            <a:r>
              <a:rPr lang="en-GB" sz="800" kern="1200" dirty="0">
                <a:solidFill>
                  <a:srgbClr val="000000"/>
                </a:solidFill>
                <a:latin typeface="Poppins" panose="02000000000000000000" pitchFamily="2" charset="0"/>
                <a:ea typeface="+mn-ea"/>
                <a:cs typeface="Poppins" panose="02000000000000000000" pitchFamily="2" charset="0"/>
              </a:rPr>
              <a:t> </a:t>
            </a:r>
          </a:p>
          <a:p>
            <a:endParaRPr lang="en-GB" sz="800" dirty="0">
              <a:solidFill>
                <a:srgbClr val="000000"/>
              </a:solidFill>
              <a:latin typeface="Poppins" panose="02000000000000000000" pitchFamily="2" charset="0"/>
              <a:cs typeface="Poppins" panose="02000000000000000000" pitchFamily="2" charset="0"/>
            </a:endParaRPr>
          </a:p>
        </p:txBody>
      </p:sp>
      <p:sp>
        <p:nvSpPr>
          <p:cNvPr id="29" name="TextBox 28">
            <a:extLst>
              <a:ext uri="{FF2B5EF4-FFF2-40B4-BE49-F238E27FC236}">
                <a16:creationId xmlns:a16="http://schemas.microsoft.com/office/drawing/2014/main" id="{28D6666C-0773-41EF-9C06-920F802C092A}"/>
              </a:ext>
            </a:extLst>
          </p:cNvPr>
          <p:cNvSpPr txBox="1"/>
          <p:nvPr userDrawn="1"/>
        </p:nvSpPr>
        <p:spPr>
          <a:xfrm>
            <a:off x="373503" y="2566533"/>
            <a:ext cx="5476025" cy="338554"/>
          </a:xfrm>
          <a:prstGeom prst="rect">
            <a:avLst/>
          </a:prstGeom>
          <a:noFill/>
        </p:spPr>
        <p:txBody>
          <a:bodyPr wrap="square" rtlCol="0">
            <a:spAutoFit/>
          </a:bodyPr>
          <a:lstStyle/>
          <a:p>
            <a:r>
              <a:rPr lang="en-GB" sz="1600" kern="1200" dirty="0">
                <a:solidFill>
                  <a:schemeClr val="tx1"/>
                </a:solidFill>
                <a:latin typeface="Poppins Medium" panose="02000000000000000000" pitchFamily="2" charset="0"/>
                <a:ea typeface="+mn-ea"/>
                <a:cs typeface="Poppins Medium" panose="02000000000000000000" pitchFamily="2" charset="0"/>
              </a:rPr>
              <a:t>Any questions? Please get in touch</a:t>
            </a:r>
          </a:p>
        </p:txBody>
      </p:sp>
      <p:sp>
        <p:nvSpPr>
          <p:cNvPr id="27" name="TextBox 26">
            <a:extLst>
              <a:ext uri="{FF2B5EF4-FFF2-40B4-BE49-F238E27FC236}">
                <a16:creationId xmlns:a16="http://schemas.microsoft.com/office/drawing/2014/main" id="{5E1EAD94-748A-4668-BE73-4409D62EB073}"/>
              </a:ext>
            </a:extLst>
          </p:cNvPr>
          <p:cNvSpPr txBox="1"/>
          <p:nvPr userDrawn="1"/>
        </p:nvSpPr>
        <p:spPr>
          <a:xfrm>
            <a:off x="373503" y="2210933"/>
            <a:ext cx="5476025" cy="338554"/>
          </a:xfrm>
          <a:prstGeom prst="rect">
            <a:avLst/>
          </a:prstGeom>
          <a:noFill/>
        </p:spPr>
        <p:txBody>
          <a:bodyPr wrap="square" rtlCol="0">
            <a:spAutoFit/>
          </a:bodyPr>
          <a:lstStyle/>
          <a:p>
            <a:r>
              <a:rPr lang="en-GB" sz="1600" kern="1200" dirty="0">
                <a:solidFill>
                  <a:schemeClr val="tx1"/>
                </a:solidFill>
                <a:latin typeface="Poppins Medium" panose="02000000000000000000" pitchFamily="2" charset="0"/>
                <a:ea typeface="+mn-ea"/>
                <a:cs typeface="Poppins Medium" panose="02000000000000000000" pitchFamily="2" charset="0"/>
              </a:rPr>
              <a:t>Thank you</a:t>
            </a:r>
          </a:p>
        </p:txBody>
      </p:sp>
      <p:pic>
        <p:nvPicPr>
          <p:cNvPr id="8" name="Picture 7">
            <a:extLst>
              <a:ext uri="{FF2B5EF4-FFF2-40B4-BE49-F238E27FC236}">
                <a16:creationId xmlns:a16="http://schemas.microsoft.com/office/drawing/2014/main" id="{0E774698-5CBF-4874-9D0E-FEB09DAE6969}"/>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428625" y="440213"/>
            <a:ext cx="4003675" cy="1290302"/>
          </a:xfrm>
          <a:prstGeom prst="rect">
            <a:avLst/>
          </a:prstGeom>
        </p:spPr>
      </p:pic>
      <p:sp>
        <p:nvSpPr>
          <p:cNvPr id="31" name="Rectangle 30">
            <a:extLst>
              <a:ext uri="{FF2B5EF4-FFF2-40B4-BE49-F238E27FC236}">
                <a16:creationId xmlns:a16="http://schemas.microsoft.com/office/drawing/2014/main" id="{85CB74FA-06E3-494B-A0BD-2282BBA99ED0}"/>
              </a:ext>
            </a:extLst>
          </p:cNvPr>
          <p:cNvSpPr/>
          <p:nvPr userDrawn="1"/>
        </p:nvSpPr>
        <p:spPr>
          <a:xfrm>
            <a:off x="8953500" y="203200"/>
            <a:ext cx="2933700" cy="88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Slide Number Placeholder 5">
            <a:extLst>
              <a:ext uri="{FF2B5EF4-FFF2-40B4-BE49-F238E27FC236}">
                <a16:creationId xmlns:a16="http://schemas.microsoft.com/office/drawing/2014/main" id="{A7585837-29D5-467B-95E7-6AAC44A72E5C}"/>
              </a:ext>
            </a:extLst>
          </p:cNvPr>
          <p:cNvSpPr txBox="1">
            <a:spLocks/>
          </p:cNvSpPr>
          <p:nvPr userDrawn="1"/>
        </p:nvSpPr>
        <p:spPr>
          <a:xfrm>
            <a:off x="11387579"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pic>
        <p:nvPicPr>
          <p:cNvPr id="4" name="Picture 3">
            <a:extLst>
              <a:ext uri="{FF2B5EF4-FFF2-40B4-BE49-F238E27FC236}">
                <a16:creationId xmlns:a16="http://schemas.microsoft.com/office/drawing/2014/main" id="{E9DBA6A8-EE85-4FF5-AE08-F8213354144A}"/>
              </a:ext>
            </a:extLst>
          </p:cNvPr>
          <p:cNvPicPr>
            <a:picLocks noChangeAspect="1"/>
          </p:cNvPicPr>
          <p:nvPr userDrawn="1"/>
        </p:nvPicPr>
        <p:blipFill>
          <a:blip r:embed="rId6" cstate="print">
            <a:biLevel thresh="75000"/>
            <a:extLst>
              <a:ext uri="{28A0092B-C50C-407E-A947-70E740481C1C}">
                <a14:useLocalDpi xmlns:a14="http://schemas.microsoft.com/office/drawing/2010/main"/>
              </a:ext>
            </a:extLst>
          </a:blip>
          <a:stretch>
            <a:fillRect/>
          </a:stretch>
        </p:blipFill>
        <p:spPr>
          <a:xfrm>
            <a:off x="2857434" y="6259790"/>
            <a:ext cx="113972" cy="98683"/>
          </a:xfrm>
          <a:prstGeom prst="rect">
            <a:avLst/>
          </a:prstGeom>
        </p:spPr>
      </p:pic>
      <p:sp>
        <p:nvSpPr>
          <p:cNvPr id="25" name="Content Placeholder 2">
            <a:extLst>
              <a:ext uri="{FF2B5EF4-FFF2-40B4-BE49-F238E27FC236}">
                <a16:creationId xmlns:a16="http://schemas.microsoft.com/office/drawing/2014/main" id="{EC04FB81-37F3-4E84-8139-7F85BF512BBE}"/>
              </a:ext>
            </a:extLst>
          </p:cNvPr>
          <p:cNvSpPr>
            <a:spLocks noGrp="1"/>
          </p:cNvSpPr>
          <p:nvPr>
            <p:ph idx="19" hasCustomPrompt="1"/>
          </p:nvPr>
        </p:nvSpPr>
        <p:spPr>
          <a:xfrm>
            <a:off x="692214" y="5418983"/>
            <a:ext cx="3253277" cy="266350"/>
          </a:xfrm>
        </p:spPr>
        <p:txBody>
          <a:bodyPr/>
          <a:lstStyle>
            <a:lvl1pPr marL="0" indent="0">
              <a:buNone/>
              <a:defRPr sz="1500">
                <a:solidFill>
                  <a:schemeClr val="tx1"/>
                </a:solidFill>
                <a:latin typeface="Poppins Light" panose="02000000000000000000" pitchFamily="2" charset="0"/>
                <a:cs typeface="Poppins Light" panose="02000000000000000000" pitchFamily="2" charset="0"/>
              </a:defRPr>
            </a:lvl1pPr>
            <a:lvl2pPr marL="246063" indent="0">
              <a:buNone/>
              <a:defRPr>
                <a:solidFill>
                  <a:schemeClr val="tx1"/>
                </a:solidFill>
              </a:defRPr>
            </a:lvl2pPr>
            <a:lvl3pPr marL="517525" indent="0">
              <a:buNone/>
              <a:defRPr>
                <a:solidFill>
                  <a:schemeClr val="tx1"/>
                </a:solidFill>
              </a:defRPr>
            </a:lvl3pPr>
            <a:lvl4pPr marL="763588" indent="0">
              <a:buNone/>
              <a:defRPr>
                <a:solidFill>
                  <a:schemeClr val="tx1"/>
                </a:solidFill>
              </a:defRPr>
            </a:lvl4pPr>
            <a:lvl5pPr marL="1057275" indent="0">
              <a:buNone/>
              <a:defRPr>
                <a:solidFill>
                  <a:schemeClr val="tx1"/>
                </a:solidFill>
              </a:defRPr>
            </a:lvl5pPr>
          </a:lstStyle>
          <a:p>
            <a:pPr lvl="0"/>
            <a:r>
              <a:rPr lang="en-US" dirty="0"/>
              <a:t>020 7304 XXXX</a:t>
            </a:r>
            <a:endParaRPr lang="en-GB" dirty="0"/>
          </a:p>
        </p:txBody>
      </p:sp>
    </p:spTree>
    <p:extLst>
      <p:ext uri="{BB962C8B-B14F-4D97-AF65-F5344CB8AC3E}">
        <p14:creationId xmlns:p14="http://schemas.microsoft.com/office/powerpoint/2010/main" val="20384039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Closing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AF85290-9360-4536-BC30-9B5CCB583B5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9831"/>
            <a:ext cx="12192000" cy="6862168"/>
          </a:xfrm>
          <a:prstGeom prst="rect">
            <a:avLst/>
          </a:prstGeom>
        </p:spPr>
      </p:pic>
      <p:sp>
        <p:nvSpPr>
          <p:cNvPr id="24" name="TextBox 23">
            <a:extLst>
              <a:ext uri="{FF2B5EF4-FFF2-40B4-BE49-F238E27FC236}">
                <a16:creationId xmlns:a16="http://schemas.microsoft.com/office/drawing/2014/main" id="{74178BBD-95D4-49F6-8C10-1287AF7E79EC}"/>
              </a:ext>
            </a:extLst>
          </p:cNvPr>
          <p:cNvSpPr txBox="1"/>
          <p:nvPr userDrawn="1"/>
        </p:nvSpPr>
        <p:spPr>
          <a:xfrm>
            <a:off x="373710" y="6051220"/>
            <a:ext cx="5211749" cy="496161"/>
          </a:xfrm>
          <a:prstGeom prst="rect">
            <a:avLst/>
          </a:prstGeom>
          <a:noFill/>
        </p:spPr>
        <p:txBody>
          <a:bodyPr wrap="square" rtlCol="0">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GB" sz="800" dirty="0" err="1">
                <a:solidFill>
                  <a:schemeClr val="bg1"/>
                </a:solidFill>
                <a:latin typeface="Poppins SemiBold" panose="02000000000000000000" pitchFamily="2" charset="0"/>
                <a:cs typeface="Poppins SemiBold" panose="02000000000000000000" pitchFamily="2" charset="0"/>
              </a:rPr>
              <a:t>Zemo</a:t>
            </a:r>
            <a:r>
              <a:rPr lang="en-GB" sz="800" dirty="0">
                <a:solidFill>
                  <a:schemeClr val="bg1"/>
                </a:solidFill>
                <a:latin typeface="Poppins SemiBold" panose="02000000000000000000" pitchFamily="2" charset="0"/>
                <a:cs typeface="Poppins SemiBold" panose="02000000000000000000" pitchFamily="2" charset="0"/>
              </a:rPr>
              <a:t> Partnership</a:t>
            </a:r>
            <a:r>
              <a:rPr lang="en-GB" sz="800" dirty="0">
                <a:solidFill>
                  <a:schemeClr val="bg1"/>
                </a:solidFill>
                <a:latin typeface="Poppins" panose="02000000000000000000" pitchFamily="2" charset="0"/>
                <a:cs typeface="Poppins" panose="02000000000000000000" pitchFamily="2" charset="0"/>
              </a:rPr>
              <a:t>, 3 Birdcage Walk, London SW1H 9JJ</a:t>
            </a:r>
            <a:br>
              <a:rPr lang="en-GB" sz="800" dirty="0">
                <a:solidFill>
                  <a:schemeClr val="bg1"/>
                </a:solidFill>
                <a:latin typeface="Poppins" panose="02000000000000000000" pitchFamily="2" charset="0"/>
                <a:cs typeface="Poppins" panose="02000000000000000000" pitchFamily="2" charset="0"/>
              </a:rPr>
            </a:br>
            <a:r>
              <a:rPr lang="en-GB" sz="800" dirty="0">
                <a:solidFill>
                  <a:schemeClr val="bg1"/>
                </a:solidFill>
                <a:latin typeface="Poppins" panose="02000000000000000000" pitchFamily="2" charset="0"/>
                <a:cs typeface="Poppins" panose="02000000000000000000" pitchFamily="2" charset="0"/>
              </a:rPr>
              <a:t>T: +44 (0)20 7304 6880  |  E</a:t>
            </a:r>
            <a:r>
              <a:rPr lang="en-GB" sz="800" kern="1200" dirty="0">
                <a:solidFill>
                  <a:schemeClr val="bg1"/>
                </a:solidFill>
                <a:latin typeface="Poppins" panose="02000000000000000000" pitchFamily="2" charset="0"/>
                <a:ea typeface="+mn-ea"/>
                <a:cs typeface="Poppins" panose="02000000000000000000" pitchFamily="2" charset="0"/>
              </a:rPr>
              <a:t>: </a:t>
            </a:r>
            <a:r>
              <a:rPr lang="en-GB" sz="800" kern="1200" dirty="0">
                <a:solidFill>
                  <a:srgbClr val="FFFFFF"/>
                </a:solidFill>
                <a:latin typeface="Poppins" panose="02000000000000000000" pitchFamily="2" charset="0"/>
                <a:ea typeface="+mn-ea"/>
                <a:cs typeface="Poppins" panose="02000000000000000000" pitchFamily="2" charset="0"/>
                <a:hlinkClick r:id="rId3">
                  <a:extLst>
                    <a:ext uri="{A12FA001-AC4F-418D-AE19-62706E023703}">
                      <ahyp:hlinkClr xmlns:ahyp="http://schemas.microsoft.com/office/drawing/2018/hyperlinkcolor" val="tx"/>
                    </a:ext>
                  </a:extLst>
                </a:hlinkClick>
              </a:rPr>
              <a:t>hello@zemo.org.uk</a:t>
            </a:r>
            <a:r>
              <a:rPr lang="en-GB" sz="800" kern="1200" dirty="0">
                <a:solidFill>
                  <a:srgbClr val="FFFFFF"/>
                </a:solidFill>
                <a:latin typeface="Poppins" panose="02000000000000000000" pitchFamily="2" charset="0"/>
                <a:ea typeface="+mn-ea"/>
                <a:cs typeface="Poppins" panose="02000000000000000000" pitchFamily="2" charset="0"/>
              </a:rPr>
              <a:t>          </a:t>
            </a:r>
            <a:r>
              <a:rPr lang="en-GB" sz="800" kern="1200" dirty="0">
                <a:solidFill>
                  <a:schemeClr val="bg1"/>
                </a:solidFill>
                <a:latin typeface="Poppins" panose="02000000000000000000" pitchFamily="2" charset="0"/>
                <a:ea typeface="+mn-ea"/>
                <a:cs typeface="Poppins" panose="02000000000000000000" pitchFamily="2" charset="0"/>
              </a:rPr>
              <a:t>@Zemo_Org  |  </a:t>
            </a:r>
            <a:r>
              <a:rPr lang="en-GB" sz="800" kern="1200" dirty="0">
                <a:solidFill>
                  <a:srgbClr val="FFFFFF"/>
                </a:solidFill>
                <a:latin typeface="Poppins" panose="02000000000000000000" pitchFamily="2" charset="0"/>
                <a:ea typeface="+mn-ea"/>
                <a:cs typeface="Poppins" panose="02000000000000000000" pitchFamily="2" charset="0"/>
                <a:hlinkClick r:id="rId4">
                  <a:extLst>
                    <a:ext uri="{A12FA001-AC4F-418D-AE19-62706E023703}">
                      <ahyp:hlinkClr xmlns:ahyp="http://schemas.microsoft.com/office/drawing/2018/hyperlinkcolor" val="tx"/>
                    </a:ext>
                  </a:extLst>
                </a:hlinkClick>
              </a:rPr>
              <a:t>www.zemo.org.uk</a:t>
            </a:r>
            <a:r>
              <a:rPr lang="en-GB" sz="800" kern="1200" dirty="0">
                <a:solidFill>
                  <a:srgbClr val="FFFFFF"/>
                </a:solidFill>
                <a:latin typeface="Poppins" panose="02000000000000000000" pitchFamily="2" charset="0"/>
                <a:ea typeface="+mn-ea"/>
                <a:cs typeface="Poppins" panose="02000000000000000000" pitchFamily="2" charset="0"/>
              </a:rPr>
              <a:t> </a:t>
            </a:r>
          </a:p>
          <a:p>
            <a:endParaRPr lang="en-GB" sz="800" dirty="0">
              <a:solidFill>
                <a:schemeClr val="bg1"/>
              </a:solidFill>
              <a:latin typeface="Poppins" panose="02000000000000000000" pitchFamily="2" charset="0"/>
              <a:cs typeface="Poppins" panose="02000000000000000000" pitchFamily="2" charset="0"/>
            </a:endParaRPr>
          </a:p>
        </p:txBody>
      </p:sp>
      <p:sp>
        <p:nvSpPr>
          <p:cNvPr id="27" name="TextBox 26">
            <a:extLst>
              <a:ext uri="{FF2B5EF4-FFF2-40B4-BE49-F238E27FC236}">
                <a16:creationId xmlns:a16="http://schemas.microsoft.com/office/drawing/2014/main" id="{5E1EAD94-748A-4668-BE73-4409D62EB073}"/>
              </a:ext>
            </a:extLst>
          </p:cNvPr>
          <p:cNvSpPr txBox="1"/>
          <p:nvPr userDrawn="1"/>
        </p:nvSpPr>
        <p:spPr>
          <a:xfrm>
            <a:off x="373503" y="381302"/>
            <a:ext cx="5476025" cy="523220"/>
          </a:xfrm>
          <a:prstGeom prst="rect">
            <a:avLst/>
          </a:prstGeom>
          <a:noFill/>
        </p:spPr>
        <p:txBody>
          <a:bodyPr wrap="square" rtlCol="0">
            <a:spAutoFit/>
          </a:bodyPr>
          <a:lstStyle/>
          <a:p>
            <a:r>
              <a:rPr lang="en-GB" sz="2800" kern="1200" dirty="0">
                <a:solidFill>
                  <a:schemeClr val="bg1"/>
                </a:solidFill>
                <a:latin typeface="Poppins Medium" panose="02000000000000000000" pitchFamily="2" charset="0"/>
                <a:ea typeface="+mn-ea"/>
                <a:cs typeface="Poppins Medium" panose="02000000000000000000" pitchFamily="2" charset="0"/>
              </a:rPr>
              <a:t>Thank you</a:t>
            </a:r>
          </a:p>
        </p:txBody>
      </p:sp>
      <p:sp>
        <p:nvSpPr>
          <p:cNvPr id="23" name="Slide Number Placeholder 5">
            <a:extLst>
              <a:ext uri="{FF2B5EF4-FFF2-40B4-BE49-F238E27FC236}">
                <a16:creationId xmlns:a16="http://schemas.microsoft.com/office/drawing/2014/main" id="{A7585837-29D5-467B-95E7-6AAC44A72E5C}"/>
              </a:ext>
            </a:extLst>
          </p:cNvPr>
          <p:cNvSpPr txBox="1">
            <a:spLocks/>
          </p:cNvSpPr>
          <p:nvPr userDrawn="1"/>
        </p:nvSpPr>
        <p:spPr>
          <a:xfrm>
            <a:off x="11387579" y="6472153"/>
            <a:ext cx="341983" cy="211451"/>
          </a:xfrm>
          <a:prstGeom prst="rect">
            <a:avLst/>
          </a:prstGeom>
        </p:spPr>
        <p:txBody>
          <a:bodyPr lIns="0" tIns="0" rIns="0" bIns="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pc="-22" dirty="0">
                <a:solidFill>
                  <a:schemeClr val="bg1"/>
                </a:solidFill>
                <a:sym typeface="Symbol" panose="05050102010706020507" pitchFamily="18" charset="2"/>
              </a:rPr>
              <a:t> </a:t>
            </a:r>
            <a:fld id="{985D5D71-2132-4A0D-A457-AC01235D778F}" type="slidenum">
              <a:rPr lang="en-GB" sz="800" kern="1200" smtClean="0">
                <a:solidFill>
                  <a:schemeClr val="bg1"/>
                </a:solidFill>
                <a:latin typeface="Poppins Medium" panose="02000000000000000000" pitchFamily="2" charset="0"/>
                <a:ea typeface="+mn-ea"/>
                <a:cs typeface="Poppins Medium" panose="02000000000000000000" pitchFamily="2" charset="0"/>
              </a:rPr>
              <a:pPr/>
              <a:t>‹#›</a:t>
            </a:fld>
            <a:endParaRPr lang="en-GB" sz="800" kern="1200" dirty="0">
              <a:solidFill>
                <a:schemeClr val="bg1"/>
              </a:solidFill>
              <a:latin typeface="Poppins Medium" panose="02000000000000000000" pitchFamily="2" charset="0"/>
              <a:ea typeface="+mn-ea"/>
              <a:cs typeface="Poppins Medium" panose="02000000000000000000" pitchFamily="2" charset="0"/>
            </a:endParaRPr>
          </a:p>
        </p:txBody>
      </p:sp>
      <p:sp>
        <p:nvSpPr>
          <p:cNvPr id="25" name="TextBox 24">
            <a:extLst>
              <a:ext uri="{FF2B5EF4-FFF2-40B4-BE49-F238E27FC236}">
                <a16:creationId xmlns:a16="http://schemas.microsoft.com/office/drawing/2014/main" id="{847B69C1-E3CD-4C39-89E7-6453371E7376}"/>
              </a:ext>
            </a:extLst>
          </p:cNvPr>
          <p:cNvSpPr txBox="1"/>
          <p:nvPr userDrawn="1"/>
        </p:nvSpPr>
        <p:spPr>
          <a:xfrm>
            <a:off x="373711" y="6453309"/>
            <a:ext cx="3872286" cy="215444"/>
          </a:xfrm>
          <a:prstGeom prst="rect">
            <a:avLst/>
          </a:prstGeom>
          <a:noFill/>
        </p:spPr>
        <p:txBody>
          <a:bodyPr wrap="square" rtlCol="0">
            <a:spAutoFit/>
          </a:bodyPr>
          <a:lstStyle/>
          <a:p>
            <a:r>
              <a:rPr lang="en-GB" sz="800" dirty="0" err="1">
                <a:solidFill>
                  <a:schemeClr val="bg1"/>
                </a:solidFill>
                <a:latin typeface="Poppins Medium" panose="02000000000000000000" pitchFamily="2" charset="0"/>
                <a:cs typeface="Poppins Medium" panose="02000000000000000000" pitchFamily="2" charset="0"/>
              </a:rPr>
              <a:t>Zemo</a:t>
            </a:r>
            <a:r>
              <a:rPr lang="en-GB" sz="800" dirty="0">
                <a:solidFill>
                  <a:schemeClr val="bg1"/>
                </a:solidFill>
                <a:latin typeface="Poppins Medium" panose="02000000000000000000" pitchFamily="2" charset="0"/>
                <a:cs typeface="Poppins Medium" panose="02000000000000000000" pitchFamily="2" charset="0"/>
              </a:rPr>
              <a:t> Partnership </a:t>
            </a:r>
            <a:r>
              <a:rPr lang="en-GB" sz="800" dirty="0">
                <a:solidFill>
                  <a:schemeClr val="bg1"/>
                </a:solidFill>
                <a:latin typeface="Poppins" panose="02000000000000000000" pitchFamily="2" charset="0"/>
                <a:cs typeface="Poppins" panose="02000000000000000000" pitchFamily="2" charset="0"/>
              </a:rPr>
              <a:t>© Copyright 2021</a:t>
            </a:r>
          </a:p>
        </p:txBody>
      </p:sp>
      <p:pic>
        <p:nvPicPr>
          <p:cNvPr id="11" name="Picture 10">
            <a:extLst>
              <a:ext uri="{FF2B5EF4-FFF2-40B4-BE49-F238E27FC236}">
                <a16:creationId xmlns:a16="http://schemas.microsoft.com/office/drawing/2014/main" id="{569D7EAF-DF5E-4550-A7E3-87924B748E5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7802310" y="174396"/>
            <a:ext cx="4218773" cy="1735528"/>
          </a:xfrm>
          <a:prstGeom prst="rect">
            <a:avLst/>
          </a:prstGeom>
        </p:spPr>
      </p:pic>
      <p:pic>
        <p:nvPicPr>
          <p:cNvPr id="26" name="Picture 25">
            <a:extLst>
              <a:ext uri="{FF2B5EF4-FFF2-40B4-BE49-F238E27FC236}">
                <a16:creationId xmlns:a16="http://schemas.microsoft.com/office/drawing/2014/main" id="{16203968-3FE2-42D1-A077-8EB7652C034B}"/>
              </a:ext>
            </a:extLst>
          </p:cNvPr>
          <p:cNvPicPr>
            <a:picLocks noChangeAspect="1"/>
          </p:cNvPicPr>
          <p:nvPr userDrawn="1"/>
        </p:nvPicPr>
        <p:blipFill>
          <a:blip r:embed="rId6" cstate="print">
            <a:biLevel thresh="25000"/>
            <a:extLst>
              <a:ext uri="{28A0092B-C50C-407E-A947-70E740481C1C}">
                <a14:useLocalDpi xmlns:a14="http://schemas.microsoft.com/office/drawing/2010/main"/>
              </a:ext>
            </a:extLst>
          </a:blip>
          <a:stretch>
            <a:fillRect/>
          </a:stretch>
        </p:blipFill>
        <p:spPr>
          <a:xfrm>
            <a:off x="2865612" y="6271405"/>
            <a:ext cx="113972" cy="98683"/>
          </a:xfrm>
          <a:prstGeom prst="rect">
            <a:avLst/>
          </a:prstGeom>
        </p:spPr>
      </p:pic>
      <p:sp>
        <p:nvSpPr>
          <p:cNvPr id="28" name="Content Placeholder 2">
            <a:extLst>
              <a:ext uri="{FF2B5EF4-FFF2-40B4-BE49-F238E27FC236}">
                <a16:creationId xmlns:a16="http://schemas.microsoft.com/office/drawing/2014/main" id="{AFCECBDF-3449-48D9-81A0-D9417C239119}"/>
              </a:ext>
            </a:extLst>
          </p:cNvPr>
          <p:cNvSpPr>
            <a:spLocks noGrp="1"/>
          </p:cNvSpPr>
          <p:nvPr>
            <p:ph idx="1" hasCustomPrompt="1"/>
          </p:nvPr>
        </p:nvSpPr>
        <p:spPr>
          <a:xfrm>
            <a:off x="472917" y="2922062"/>
            <a:ext cx="3467965" cy="266350"/>
          </a:xfrm>
        </p:spPr>
        <p:txBody>
          <a:bodyPr/>
          <a:lstStyle>
            <a:lvl1pPr marL="0" indent="0">
              <a:buNone/>
              <a:defRPr sz="1500">
                <a:solidFill>
                  <a:schemeClr val="bg1"/>
                </a:solidFill>
              </a:defRPr>
            </a:lvl1pPr>
            <a:lvl2pPr marL="246063" indent="0">
              <a:buNone/>
              <a:defRPr>
                <a:solidFill>
                  <a:schemeClr val="tx1"/>
                </a:solidFill>
              </a:defRPr>
            </a:lvl2pPr>
            <a:lvl3pPr marL="517525" indent="0">
              <a:buNone/>
              <a:defRPr>
                <a:solidFill>
                  <a:schemeClr val="tx1"/>
                </a:solidFill>
              </a:defRPr>
            </a:lvl3pPr>
            <a:lvl4pPr marL="763588" indent="0">
              <a:buNone/>
              <a:defRPr>
                <a:solidFill>
                  <a:schemeClr val="tx1"/>
                </a:solidFill>
              </a:defRPr>
            </a:lvl4pPr>
            <a:lvl5pPr marL="1057275" indent="0">
              <a:buNone/>
              <a:defRPr>
                <a:solidFill>
                  <a:schemeClr val="tx1"/>
                </a:solidFill>
              </a:defRPr>
            </a:lvl5pPr>
          </a:lstStyle>
          <a:p>
            <a:pPr lvl="0"/>
            <a:r>
              <a:rPr lang="en-US" dirty="0"/>
              <a:t>Name Titles</a:t>
            </a:r>
            <a:endParaRPr lang="en-GB" dirty="0"/>
          </a:p>
        </p:txBody>
      </p:sp>
      <p:sp>
        <p:nvSpPr>
          <p:cNvPr id="30" name="Content Placeholder 2">
            <a:extLst>
              <a:ext uri="{FF2B5EF4-FFF2-40B4-BE49-F238E27FC236}">
                <a16:creationId xmlns:a16="http://schemas.microsoft.com/office/drawing/2014/main" id="{F80E45E3-78F0-4783-8484-72D4AEDAECC9}"/>
              </a:ext>
            </a:extLst>
          </p:cNvPr>
          <p:cNvSpPr>
            <a:spLocks noGrp="1"/>
          </p:cNvSpPr>
          <p:nvPr>
            <p:ph idx="12" hasCustomPrompt="1"/>
          </p:nvPr>
        </p:nvSpPr>
        <p:spPr>
          <a:xfrm>
            <a:off x="472917" y="3215577"/>
            <a:ext cx="3467965" cy="266350"/>
          </a:xfrm>
        </p:spPr>
        <p:txBody>
          <a:bodyPr/>
          <a:lstStyle>
            <a:lvl1pPr marL="0" indent="0">
              <a:buNone/>
              <a:defRPr sz="1500">
                <a:solidFill>
                  <a:schemeClr val="bg1"/>
                </a:solidFill>
                <a:latin typeface="Poppins Light" panose="02000000000000000000" pitchFamily="2" charset="0"/>
                <a:cs typeface="Poppins Light" panose="02000000000000000000" pitchFamily="2" charset="0"/>
              </a:defRPr>
            </a:lvl1pPr>
            <a:lvl2pPr marL="246063" indent="0">
              <a:buNone/>
              <a:defRPr>
                <a:solidFill>
                  <a:schemeClr val="tx1"/>
                </a:solidFill>
              </a:defRPr>
            </a:lvl2pPr>
            <a:lvl3pPr marL="517525" indent="0">
              <a:buNone/>
              <a:defRPr>
                <a:solidFill>
                  <a:schemeClr val="tx1"/>
                </a:solidFill>
              </a:defRPr>
            </a:lvl3pPr>
            <a:lvl4pPr marL="763588" indent="0">
              <a:buNone/>
              <a:defRPr>
                <a:solidFill>
                  <a:schemeClr val="tx1"/>
                </a:solidFill>
              </a:defRPr>
            </a:lvl4pPr>
            <a:lvl5pPr marL="1057275" indent="0">
              <a:buNone/>
              <a:defRPr>
                <a:solidFill>
                  <a:schemeClr val="tx1"/>
                </a:solidFill>
              </a:defRPr>
            </a:lvl5pPr>
          </a:lstStyle>
          <a:p>
            <a:pPr lvl="0"/>
            <a:r>
              <a:rPr lang="en-US" dirty="0"/>
              <a:t>Position</a:t>
            </a:r>
            <a:endParaRPr lang="en-GB" dirty="0"/>
          </a:p>
        </p:txBody>
      </p:sp>
      <p:sp>
        <p:nvSpPr>
          <p:cNvPr id="31" name="Content Placeholder 2">
            <a:extLst>
              <a:ext uri="{FF2B5EF4-FFF2-40B4-BE49-F238E27FC236}">
                <a16:creationId xmlns:a16="http://schemas.microsoft.com/office/drawing/2014/main" id="{F1D9CF1F-ED00-457E-BCAF-79D01E578FE2}"/>
              </a:ext>
            </a:extLst>
          </p:cNvPr>
          <p:cNvSpPr>
            <a:spLocks noGrp="1"/>
          </p:cNvSpPr>
          <p:nvPr>
            <p:ph idx="13" hasCustomPrompt="1"/>
          </p:nvPr>
        </p:nvSpPr>
        <p:spPr>
          <a:xfrm>
            <a:off x="687604" y="3505806"/>
            <a:ext cx="3253278" cy="266350"/>
          </a:xfrm>
        </p:spPr>
        <p:txBody>
          <a:bodyPr/>
          <a:lstStyle>
            <a:lvl1pPr marL="0" indent="0">
              <a:buNone/>
              <a:defRPr lang="en-GB" sz="1500" kern="1200" dirty="0">
                <a:solidFill>
                  <a:schemeClr val="bg1"/>
                </a:solidFill>
                <a:latin typeface="Poppins Light" panose="02000000000000000000" pitchFamily="2" charset="0"/>
                <a:ea typeface="+mn-ea"/>
                <a:cs typeface="Poppins Light" panose="02000000000000000000" pitchFamily="2" charset="0"/>
              </a:defRPr>
            </a:lvl1pPr>
            <a:lvl2pPr marL="246063" indent="0">
              <a:buNone/>
              <a:defRPr>
                <a:solidFill>
                  <a:schemeClr val="tx1"/>
                </a:solidFill>
              </a:defRPr>
            </a:lvl2pPr>
            <a:lvl3pPr marL="517525" indent="0">
              <a:buNone/>
              <a:defRPr>
                <a:solidFill>
                  <a:schemeClr val="tx1"/>
                </a:solidFill>
              </a:defRPr>
            </a:lvl3pPr>
            <a:lvl4pPr marL="763588" indent="0">
              <a:buNone/>
              <a:defRPr>
                <a:solidFill>
                  <a:schemeClr val="tx1"/>
                </a:solidFill>
              </a:defRPr>
            </a:lvl4pPr>
            <a:lvl5pPr marL="1057275" indent="0">
              <a:buNone/>
              <a:defRPr>
                <a:solidFill>
                  <a:schemeClr val="tx1"/>
                </a:solidFill>
              </a:defRPr>
            </a:lvl5pPr>
          </a:lstStyle>
          <a:p>
            <a:pPr lvl="0"/>
            <a:r>
              <a:rPr lang="en-US" dirty="0"/>
              <a:t>first.surname@zemo.org.uk</a:t>
            </a:r>
            <a:endParaRPr lang="en-GB" dirty="0"/>
          </a:p>
        </p:txBody>
      </p:sp>
      <p:sp>
        <p:nvSpPr>
          <p:cNvPr id="32" name="Content Placeholder 2">
            <a:extLst>
              <a:ext uri="{FF2B5EF4-FFF2-40B4-BE49-F238E27FC236}">
                <a16:creationId xmlns:a16="http://schemas.microsoft.com/office/drawing/2014/main" id="{90CCDB89-B512-4A32-9827-D776B903C90B}"/>
              </a:ext>
            </a:extLst>
          </p:cNvPr>
          <p:cNvSpPr>
            <a:spLocks noGrp="1"/>
          </p:cNvSpPr>
          <p:nvPr>
            <p:ph idx="14" hasCustomPrompt="1"/>
          </p:nvPr>
        </p:nvSpPr>
        <p:spPr>
          <a:xfrm>
            <a:off x="702047" y="3787225"/>
            <a:ext cx="2992452" cy="266350"/>
          </a:xfrm>
        </p:spPr>
        <p:txBody>
          <a:bodyPr/>
          <a:lstStyle>
            <a:lvl1pPr marL="0" indent="0">
              <a:buNone/>
              <a:defRPr sz="1500">
                <a:solidFill>
                  <a:schemeClr val="bg1"/>
                </a:solidFill>
                <a:latin typeface="Poppins Light" panose="02000000000000000000" pitchFamily="2" charset="0"/>
                <a:cs typeface="Poppins Light" panose="02000000000000000000" pitchFamily="2" charset="0"/>
              </a:defRPr>
            </a:lvl1pPr>
            <a:lvl2pPr marL="246063" indent="0">
              <a:buNone/>
              <a:defRPr>
                <a:solidFill>
                  <a:schemeClr val="tx1"/>
                </a:solidFill>
              </a:defRPr>
            </a:lvl2pPr>
            <a:lvl3pPr marL="517525" indent="0">
              <a:buNone/>
              <a:defRPr>
                <a:solidFill>
                  <a:schemeClr val="tx1"/>
                </a:solidFill>
              </a:defRPr>
            </a:lvl3pPr>
            <a:lvl4pPr marL="763588" indent="0">
              <a:buNone/>
              <a:defRPr>
                <a:solidFill>
                  <a:schemeClr val="tx1"/>
                </a:solidFill>
              </a:defRPr>
            </a:lvl4pPr>
            <a:lvl5pPr marL="1057275" indent="0">
              <a:buNone/>
              <a:defRPr>
                <a:solidFill>
                  <a:schemeClr val="tx1"/>
                </a:solidFill>
              </a:defRPr>
            </a:lvl5pPr>
          </a:lstStyle>
          <a:p>
            <a:pPr lvl="0"/>
            <a:r>
              <a:rPr lang="en-US" dirty="0"/>
              <a:t>020 7304 XXXX</a:t>
            </a:r>
            <a:endParaRPr lang="en-GB" dirty="0"/>
          </a:p>
        </p:txBody>
      </p:sp>
      <p:sp>
        <p:nvSpPr>
          <p:cNvPr id="33" name="TextBox 32">
            <a:extLst>
              <a:ext uri="{FF2B5EF4-FFF2-40B4-BE49-F238E27FC236}">
                <a16:creationId xmlns:a16="http://schemas.microsoft.com/office/drawing/2014/main" id="{7A198F02-10FE-4E22-8DC6-393EA3A78AA9}"/>
              </a:ext>
            </a:extLst>
          </p:cNvPr>
          <p:cNvSpPr txBox="1"/>
          <p:nvPr userDrawn="1"/>
        </p:nvSpPr>
        <p:spPr>
          <a:xfrm>
            <a:off x="368515" y="3518509"/>
            <a:ext cx="383557" cy="323165"/>
          </a:xfrm>
          <a:prstGeom prst="rect">
            <a:avLst/>
          </a:prstGeom>
          <a:noFill/>
        </p:spPr>
        <p:txBody>
          <a:bodyPr wrap="square" rtlCol="0">
            <a:spAutoFit/>
          </a:bodyPr>
          <a:lstStyle/>
          <a:p>
            <a:r>
              <a:rPr lang="en-GB" sz="1500" kern="1200" dirty="0">
                <a:solidFill>
                  <a:schemeClr val="bg1"/>
                </a:solidFill>
                <a:latin typeface="Poppins Medium" panose="02000000000000000000" pitchFamily="2" charset="0"/>
                <a:ea typeface="+mn-ea"/>
                <a:cs typeface="Poppins Medium" panose="02000000000000000000" pitchFamily="2" charset="0"/>
              </a:rPr>
              <a:t>E:</a:t>
            </a:r>
          </a:p>
        </p:txBody>
      </p:sp>
      <p:sp>
        <p:nvSpPr>
          <p:cNvPr id="34" name="TextBox 33">
            <a:extLst>
              <a:ext uri="{FF2B5EF4-FFF2-40B4-BE49-F238E27FC236}">
                <a16:creationId xmlns:a16="http://schemas.microsoft.com/office/drawing/2014/main" id="{2099A3C2-8CBA-4746-A8DD-0E794E4BAB32}"/>
              </a:ext>
            </a:extLst>
          </p:cNvPr>
          <p:cNvSpPr txBox="1"/>
          <p:nvPr userDrawn="1"/>
        </p:nvSpPr>
        <p:spPr>
          <a:xfrm>
            <a:off x="371455" y="3794033"/>
            <a:ext cx="383557" cy="323165"/>
          </a:xfrm>
          <a:prstGeom prst="rect">
            <a:avLst/>
          </a:prstGeom>
          <a:noFill/>
        </p:spPr>
        <p:txBody>
          <a:bodyPr wrap="square" rtlCol="0">
            <a:spAutoFit/>
          </a:bodyPr>
          <a:lstStyle/>
          <a:p>
            <a:r>
              <a:rPr lang="en-GB" sz="1500" kern="1200" dirty="0">
                <a:solidFill>
                  <a:schemeClr val="bg1"/>
                </a:solidFill>
                <a:latin typeface="Poppins Medium" panose="02000000000000000000" pitchFamily="2" charset="0"/>
                <a:ea typeface="+mn-ea"/>
                <a:cs typeface="Poppins Medium" panose="02000000000000000000" pitchFamily="2" charset="0"/>
              </a:rPr>
              <a:t>T:</a:t>
            </a:r>
          </a:p>
        </p:txBody>
      </p:sp>
      <p:sp>
        <p:nvSpPr>
          <p:cNvPr id="35" name="Content Placeholder 2">
            <a:extLst>
              <a:ext uri="{FF2B5EF4-FFF2-40B4-BE49-F238E27FC236}">
                <a16:creationId xmlns:a16="http://schemas.microsoft.com/office/drawing/2014/main" id="{69839537-279D-4208-8684-91FC1240FC22}"/>
              </a:ext>
            </a:extLst>
          </p:cNvPr>
          <p:cNvSpPr>
            <a:spLocks noGrp="1"/>
          </p:cNvSpPr>
          <p:nvPr>
            <p:ph idx="15" hasCustomPrompt="1"/>
          </p:nvPr>
        </p:nvSpPr>
        <p:spPr>
          <a:xfrm>
            <a:off x="472917" y="4561820"/>
            <a:ext cx="3467965" cy="266350"/>
          </a:xfrm>
        </p:spPr>
        <p:txBody>
          <a:bodyPr/>
          <a:lstStyle>
            <a:lvl1pPr marL="0" indent="0">
              <a:buNone/>
              <a:defRPr sz="1500">
                <a:solidFill>
                  <a:schemeClr val="bg1"/>
                </a:solidFill>
              </a:defRPr>
            </a:lvl1pPr>
            <a:lvl2pPr marL="246063" indent="0">
              <a:buNone/>
              <a:defRPr>
                <a:solidFill>
                  <a:schemeClr val="tx1"/>
                </a:solidFill>
              </a:defRPr>
            </a:lvl2pPr>
            <a:lvl3pPr marL="517525" indent="0">
              <a:buNone/>
              <a:defRPr>
                <a:solidFill>
                  <a:schemeClr val="tx1"/>
                </a:solidFill>
              </a:defRPr>
            </a:lvl3pPr>
            <a:lvl4pPr marL="763588" indent="0">
              <a:buNone/>
              <a:defRPr>
                <a:solidFill>
                  <a:schemeClr val="tx1"/>
                </a:solidFill>
              </a:defRPr>
            </a:lvl4pPr>
            <a:lvl5pPr marL="1057275" indent="0">
              <a:buNone/>
              <a:defRPr>
                <a:solidFill>
                  <a:schemeClr val="tx1"/>
                </a:solidFill>
              </a:defRPr>
            </a:lvl5pPr>
          </a:lstStyle>
          <a:p>
            <a:pPr lvl="0"/>
            <a:r>
              <a:rPr lang="en-US" dirty="0"/>
              <a:t>Name Titles</a:t>
            </a:r>
            <a:endParaRPr lang="en-GB" dirty="0"/>
          </a:p>
        </p:txBody>
      </p:sp>
      <p:sp>
        <p:nvSpPr>
          <p:cNvPr id="36" name="Content Placeholder 2">
            <a:extLst>
              <a:ext uri="{FF2B5EF4-FFF2-40B4-BE49-F238E27FC236}">
                <a16:creationId xmlns:a16="http://schemas.microsoft.com/office/drawing/2014/main" id="{933E4C0A-9D42-4C4C-B70B-43BFDCAA2180}"/>
              </a:ext>
            </a:extLst>
          </p:cNvPr>
          <p:cNvSpPr>
            <a:spLocks noGrp="1"/>
          </p:cNvSpPr>
          <p:nvPr>
            <p:ph idx="16" hasCustomPrompt="1"/>
          </p:nvPr>
        </p:nvSpPr>
        <p:spPr>
          <a:xfrm>
            <a:off x="472917" y="4845810"/>
            <a:ext cx="3467965" cy="266350"/>
          </a:xfrm>
        </p:spPr>
        <p:txBody>
          <a:bodyPr/>
          <a:lstStyle>
            <a:lvl1pPr marL="0" indent="0">
              <a:buNone/>
              <a:defRPr sz="1500">
                <a:solidFill>
                  <a:schemeClr val="bg1"/>
                </a:solidFill>
                <a:latin typeface="Poppins Light" panose="02000000000000000000" pitchFamily="2" charset="0"/>
                <a:cs typeface="Poppins Light" panose="02000000000000000000" pitchFamily="2" charset="0"/>
              </a:defRPr>
            </a:lvl1pPr>
            <a:lvl2pPr marL="246063" indent="0">
              <a:buNone/>
              <a:defRPr>
                <a:solidFill>
                  <a:schemeClr val="tx1"/>
                </a:solidFill>
              </a:defRPr>
            </a:lvl2pPr>
            <a:lvl3pPr marL="517525" indent="0">
              <a:buNone/>
              <a:defRPr>
                <a:solidFill>
                  <a:schemeClr val="tx1"/>
                </a:solidFill>
              </a:defRPr>
            </a:lvl3pPr>
            <a:lvl4pPr marL="763588" indent="0">
              <a:buNone/>
              <a:defRPr>
                <a:solidFill>
                  <a:schemeClr val="tx1"/>
                </a:solidFill>
              </a:defRPr>
            </a:lvl4pPr>
            <a:lvl5pPr marL="1057275" indent="0">
              <a:buNone/>
              <a:defRPr>
                <a:solidFill>
                  <a:schemeClr val="tx1"/>
                </a:solidFill>
              </a:defRPr>
            </a:lvl5pPr>
          </a:lstStyle>
          <a:p>
            <a:pPr lvl="0"/>
            <a:r>
              <a:rPr lang="en-US" dirty="0"/>
              <a:t>Position</a:t>
            </a:r>
            <a:endParaRPr lang="en-GB" dirty="0"/>
          </a:p>
        </p:txBody>
      </p:sp>
      <p:sp>
        <p:nvSpPr>
          <p:cNvPr id="37" name="Content Placeholder 2">
            <a:extLst>
              <a:ext uri="{FF2B5EF4-FFF2-40B4-BE49-F238E27FC236}">
                <a16:creationId xmlns:a16="http://schemas.microsoft.com/office/drawing/2014/main" id="{D74208BD-8444-4F5C-B44F-94B671832B1D}"/>
              </a:ext>
            </a:extLst>
          </p:cNvPr>
          <p:cNvSpPr>
            <a:spLocks noGrp="1"/>
          </p:cNvSpPr>
          <p:nvPr>
            <p:ph idx="17" hasCustomPrompt="1"/>
          </p:nvPr>
        </p:nvSpPr>
        <p:spPr>
          <a:xfrm>
            <a:off x="687604" y="5124796"/>
            <a:ext cx="3253278" cy="266350"/>
          </a:xfrm>
        </p:spPr>
        <p:txBody>
          <a:bodyPr/>
          <a:lstStyle>
            <a:lvl1pPr marL="0" indent="0">
              <a:buNone/>
              <a:defRPr sz="1500">
                <a:solidFill>
                  <a:schemeClr val="bg1"/>
                </a:solidFill>
                <a:latin typeface="Poppins Light" panose="02000000000000000000" pitchFamily="2" charset="0"/>
                <a:cs typeface="Poppins Light" panose="02000000000000000000" pitchFamily="2" charset="0"/>
              </a:defRPr>
            </a:lvl1pPr>
            <a:lvl2pPr marL="246063" indent="0">
              <a:buNone/>
              <a:defRPr>
                <a:solidFill>
                  <a:schemeClr val="tx1"/>
                </a:solidFill>
              </a:defRPr>
            </a:lvl2pPr>
            <a:lvl3pPr marL="517525" indent="0">
              <a:buNone/>
              <a:defRPr>
                <a:solidFill>
                  <a:schemeClr val="tx1"/>
                </a:solidFill>
              </a:defRPr>
            </a:lvl3pPr>
            <a:lvl4pPr marL="763588" indent="0">
              <a:buNone/>
              <a:defRPr>
                <a:solidFill>
                  <a:schemeClr val="tx1"/>
                </a:solidFill>
              </a:defRPr>
            </a:lvl4pPr>
            <a:lvl5pPr marL="1057275" indent="0">
              <a:buNone/>
              <a:defRPr>
                <a:solidFill>
                  <a:schemeClr val="tx1"/>
                </a:solidFill>
              </a:defRPr>
            </a:lvl5pPr>
          </a:lstStyle>
          <a:p>
            <a:pPr lvl="0"/>
            <a:r>
              <a:rPr lang="en-US" dirty="0"/>
              <a:t>first.surname@zemo.org.uk</a:t>
            </a:r>
            <a:endParaRPr lang="en-GB" dirty="0"/>
          </a:p>
        </p:txBody>
      </p:sp>
      <p:sp>
        <p:nvSpPr>
          <p:cNvPr id="38" name="TextBox 37">
            <a:extLst>
              <a:ext uri="{FF2B5EF4-FFF2-40B4-BE49-F238E27FC236}">
                <a16:creationId xmlns:a16="http://schemas.microsoft.com/office/drawing/2014/main" id="{6C34EA97-DF16-4D4F-A75B-1FA307018C05}"/>
              </a:ext>
            </a:extLst>
          </p:cNvPr>
          <p:cNvSpPr txBox="1"/>
          <p:nvPr userDrawn="1"/>
        </p:nvSpPr>
        <p:spPr>
          <a:xfrm>
            <a:off x="368515" y="5153582"/>
            <a:ext cx="383557" cy="323165"/>
          </a:xfrm>
          <a:prstGeom prst="rect">
            <a:avLst/>
          </a:prstGeom>
          <a:noFill/>
        </p:spPr>
        <p:txBody>
          <a:bodyPr wrap="square" rtlCol="0">
            <a:spAutoFit/>
          </a:bodyPr>
          <a:lstStyle/>
          <a:p>
            <a:r>
              <a:rPr lang="en-GB" sz="1500" kern="1200" dirty="0">
                <a:solidFill>
                  <a:schemeClr val="bg1"/>
                </a:solidFill>
                <a:latin typeface="Poppins Medium" panose="02000000000000000000" pitchFamily="2" charset="0"/>
                <a:ea typeface="+mn-ea"/>
                <a:cs typeface="Poppins Medium" panose="02000000000000000000" pitchFamily="2" charset="0"/>
              </a:rPr>
              <a:t>E:</a:t>
            </a:r>
          </a:p>
        </p:txBody>
      </p:sp>
      <p:sp>
        <p:nvSpPr>
          <p:cNvPr id="39" name="TextBox 38">
            <a:extLst>
              <a:ext uri="{FF2B5EF4-FFF2-40B4-BE49-F238E27FC236}">
                <a16:creationId xmlns:a16="http://schemas.microsoft.com/office/drawing/2014/main" id="{0BAB1DCA-933D-4BC5-96A3-55645CD78A59}"/>
              </a:ext>
            </a:extLst>
          </p:cNvPr>
          <p:cNvSpPr txBox="1"/>
          <p:nvPr userDrawn="1"/>
        </p:nvSpPr>
        <p:spPr>
          <a:xfrm>
            <a:off x="371455" y="5419274"/>
            <a:ext cx="383557" cy="323165"/>
          </a:xfrm>
          <a:prstGeom prst="rect">
            <a:avLst/>
          </a:prstGeom>
          <a:noFill/>
        </p:spPr>
        <p:txBody>
          <a:bodyPr wrap="square" rtlCol="0">
            <a:spAutoFit/>
          </a:bodyPr>
          <a:lstStyle/>
          <a:p>
            <a:r>
              <a:rPr lang="en-GB" sz="1500" kern="1200" dirty="0">
                <a:solidFill>
                  <a:schemeClr val="bg1"/>
                </a:solidFill>
                <a:latin typeface="Poppins Medium" panose="02000000000000000000" pitchFamily="2" charset="0"/>
                <a:ea typeface="+mn-ea"/>
                <a:cs typeface="Poppins Medium" panose="02000000000000000000" pitchFamily="2" charset="0"/>
              </a:rPr>
              <a:t>T:</a:t>
            </a:r>
          </a:p>
        </p:txBody>
      </p:sp>
      <p:sp>
        <p:nvSpPr>
          <p:cNvPr id="40" name="TextBox 39">
            <a:extLst>
              <a:ext uri="{FF2B5EF4-FFF2-40B4-BE49-F238E27FC236}">
                <a16:creationId xmlns:a16="http://schemas.microsoft.com/office/drawing/2014/main" id="{655E418A-E3BD-4ED8-A984-10613A2CEC3A}"/>
              </a:ext>
            </a:extLst>
          </p:cNvPr>
          <p:cNvSpPr txBox="1"/>
          <p:nvPr userDrawn="1"/>
        </p:nvSpPr>
        <p:spPr>
          <a:xfrm>
            <a:off x="368515" y="4198952"/>
            <a:ext cx="5476025" cy="323165"/>
          </a:xfrm>
          <a:prstGeom prst="rect">
            <a:avLst/>
          </a:prstGeom>
          <a:noFill/>
        </p:spPr>
        <p:txBody>
          <a:bodyPr wrap="square" rtlCol="0">
            <a:spAutoFit/>
          </a:bodyPr>
          <a:lstStyle/>
          <a:p>
            <a:r>
              <a:rPr lang="en-GB" sz="1500" kern="1200" dirty="0">
                <a:solidFill>
                  <a:schemeClr val="bg1"/>
                </a:solidFill>
                <a:latin typeface="Poppins Medium" panose="02000000000000000000" pitchFamily="2" charset="0"/>
                <a:ea typeface="+mn-ea"/>
                <a:cs typeface="Poppins Medium" panose="02000000000000000000" pitchFamily="2" charset="0"/>
              </a:rPr>
              <a:t>Interested in joining the Partnership?</a:t>
            </a:r>
          </a:p>
        </p:txBody>
      </p:sp>
      <p:sp>
        <p:nvSpPr>
          <p:cNvPr id="41" name="TextBox 40">
            <a:extLst>
              <a:ext uri="{FF2B5EF4-FFF2-40B4-BE49-F238E27FC236}">
                <a16:creationId xmlns:a16="http://schemas.microsoft.com/office/drawing/2014/main" id="{9B5BFCC8-FF40-4A84-848D-7A8BE48B6205}"/>
              </a:ext>
            </a:extLst>
          </p:cNvPr>
          <p:cNvSpPr txBox="1"/>
          <p:nvPr userDrawn="1"/>
        </p:nvSpPr>
        <p:spPr>
          <a:xfrm>
            <a:off x="373503" y="2566533"/>
            <a:ext cx="5476025" cy="323165"/>
          </a:xfrm>
          <a:prstGeom prst="rect">
            <a:avLst/>
          </a:prstGeom>
          <a:noFill/>
        </p:spPr>
        <p:txBody>
          <a:bodyPr wrap="square" rtlCol="0">
            <a:spAutoFit/>
          </a:bodyPr>
          <a:lstStyle/>
          <a:p>
            <a:r>
              <a:rPr lang="en-GB" sz="1500" kern="1200" dirty="0">
                <a:solidFill>
                  <a:schemeClr val="bg1"/>
                </a:solidFill>
                <a:latin typeface="Poppins Medium" panose="02000000000000000000" pitchFamily="2" charset="0"/>
                <a:ea typeface="+mn-ea"/>
                <a:cs typeface="Poppins Medium" panose="02000000000000000000" pitchFamily="2" charset="0"/>
              </a:rPr>
              <a:t>Any questions? Please get in touch</a:t>
            </a:r>
          </a:p>
        </p:txBody>
      </p:sp>
      <p:sp>
        <p:nvSpPr>
          <p:cNvPr id="43" name="Content Placeholder 2">
            <a:extLst>
              <a:ext uri="{FF2B5EF4-FFF2-40B4-BE49-F238E27FC236}">
                <a16:creationId xmlns:a16="http://schemas.microsoft.com/office/drawing/2014/main" id="{442242D0-DA9E-43A9-86CB-F6152C6CD447}"/>
              </a:ext>
            </a:extLst>
          </p:cNvPr>
          <p:cNvSpPr>
            <a:spLocks noGrp="1"/>
          </p:cNvSpPr>
          <p:nvPr>
            <p:ph idx="19" hasCustomPrompt="1"/>
          </p:nvPr>
        </p:nvSpPr>
        <p:spPr>
          <a:xfrm>
            <a:off x="702046" y="5418980"/>
            <a:ext cx="3253277" cy="266350"/>
          </a:xfrm>
        </p:spPr>
        <p:txBody>
          <a:bodyPr/>
          <a:lstStyle>
            <a:lvl1pPr marL="0" indent="0">
              <a:buNone/>
              <a:defRPr sz="1500">
                <a:solidFill>
                  <a:schemeClr val="bg1"/>
                </a:solidFill>
                <a:latin typeface="Poppins Light" panose="02000000000000000000" pitchFamily="2" charset="0"/>
                <a:cs typeface="Poppins Light" panose="02000000000000000000" pitchFamily="2" charset="0"/>
              </a:defRPr>
            </a:lvl1pPr>
            <a:lvl2pPr marL="246063" indent="0">
              <a:buNone/>
              <a:defRPr>
                <a:solidFill>
                  <a:schemeClr val="tx1"/>
                </a:solidFill>
              </a:defRPr>
            </a:lvl2pPr>
            <a:lvl3pPr marL="517525" indent="0">
              <a:buNone/>
              <a:defRPr>
                <a:solidFill>
                  <a:schemeClr val="tx1"/>
                </a:solidFill>
              </a:defRPr>
            </a:lvl3pPr>
            <a:lvl4pPr marL="763588" indent="0">
              <a:buNone/>
              <a:defRPr>
                <a:solidFill>
                  <a:schemeClr val="tx1"/>
                </a:solidFill>
              </a:defRPr>
            </a:lvl4pPr>
            <a:lvl5pPr marL="1057275" indent="0">
              <a:buNone/>
              <a:defRPr>
                <a:solidFill>
                  <a:schemeClr val="tx1"/>
                </a:solidFill>
              </a:defRPr>
            </a:lvl5pPr>
          </a:lstStyle>
          <a:p>
            <a:pPr lvl="0"/>
            <a:r>
              <a:rPr lang="en-US" dirty="0"/>
              <a:t>020 7304 XXXX</a:t>
            </a:r>
            <a:endParaRPr lang="en-GB" dirty="0"/>
          </a:p>
        </p:txBody>
      </p:sp>
    </p:spTree>
    <p:extLst>
      <p:ext uri="{BB962C8B-B14F-4D97-AF65-F5344CB8AC3E}">
        <p14:creationId xmlns:p14="http://schemas.microsoft.com/office/powerpoint/2010/main" val="28440383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08B526-9B68-4843-BD7F-4AADDBB20DE8}"/>
              </a:ext>
            </a:extLst>
          </p:cNvPr>
          <p:cNvSpPr>
            <a:spLocks noGrp="1"/>
          </p:cNvSpPr>
          <p:nvPr>
            <p:ph type="title" hasCustomPrompt="1"/>
          </p:nvPr>
        </p:nvSpPr>
        <p:spPr/>
        <p:txBody>
          <a:bodyPr/>
          <a:lstStyle/>
          <a:p>
            <a:r>
              <a:rPr lang="en-US"/>
              <a:t>Click to edit title</a:t>
            </a:r>
            <a:endParaRPr lang="en-GB"/>
          </a:p>
        </p:txBody>
      </p:sp>
      <p:sp>
        <p:nvSpPr>
          <p:cNvPr id="3" name="Date Placeholder 2">
            <a:extLst>
              <a:ext uri="{FF2B5EF4-FFF2-40B4-BE49-F238E27FC236}">
                <a16:creationId xmlns:a16="http://schemas.microsoft.com/office/drawing/2014/main" id="{DF735B1C-0011-47CB-A55C-56F2515F6F7C}"/>
              </a:ext>
            </a:extLst>
          </p:cNvPr>
          <p:cNvSpPr>
            <a:spLocks noGrp="1"/>
          </p:cNvSpPr>
          <p:nvPr>
            <p:ph type="dt" sz="half" idx="10"/>
          </p:nvPr>
        </p:nvSpPr>
        <p:spPr/>
        <p:txBody>
          <a:bodyPr/>
          <a:lstStyle/>
          <a:p>
            <a:fld id="{A9013BD9-519D-41B5-802B-14779AFF451F}" type="datetime6">
              <a:rPr lang="en-GB" smtClean="0"/>
              <a:t>November 21</a:t>
            </a:fld>
            <a:endParaRPr lang="en-GB"/>
          </a:p>
        </p:txBody>
      </p:sp>
      <p:sp>
        <p:nvSpPr>
          <p:cNvPr id="4" name="Footer Placeholder 3">
            <a:extLst>
              <a:ext uri="{FF2B5EF4-FFF2-40B4-BE49-F238E27FC236}">
                <a16:creationId xmlns:a16="http://schemas.microsoft.com/office/drawing/2014/main" id="{B2D6BFA9-F8B2-42CC-8501-4A8D738FEB34}"/>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BBAF458-2376-4568-9D10-12F71191E217}"/>
              </a:ext>
            </a:extLst>
          </p:cNvPr>
          <p:cNvSpPr>
            <a:spLocks noGrp="1"/>
          </p:cNvSpPr>
          <p:nvPr>
            <p:ph type="sldNum" sz="quarter" idx="12"/>
          </p:nvPr>
        </p:nvSpPr>
        <p:spPr/>
        <p:txBody>
          <a:bodyPr/>
          <a:lstStyle/>
          <a:p>
            <a:fld id="{F4186869-B628-4395-96ED-AD53145CB3D4}" type="slidenum">
              <a:rPr lang="en-GB" smtClean="0"/>
              <a:t>‹#›</a:t>
            </a:fld>
            <a:endParaRPr lang="en-GB"/>
          </a:p>
        </p:txBody>
      </p:sp>
      <p:cxnSp>
        <p:nvCxnSpPr>
          <p:cNvPr id="6" name="Straight Connector 5">
            <a:extLst>
              <a:ext uri="{FF2B5EF4-FFF2-40B4-BE49-F238E27FC236}">
                <a16:creationId xmlns:a16="http://schemas.microsoft.com/office/drawing/2014/main" id="{6414948D-F035-4ACD-B9F1-3D656764B545}"/>
              </a:ext>
            </a:extLst>
          </p:cNvPr>
          <p:cNvCxnSpPr/>
          <p:nvPr userDrawn="1"/>
        </p:nvCxnSpPr>
        <p:spPr>
          <a:xfrm>
            <a:off x="719400" y="1389854"/>
            <a:ext cx="107532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32" name="Picture 31" descr="A picture containing clock, meter&#10;&#10;Description automatically generated">
            <a:extLst>
              <a:ext uri="{FF2B5EF4-FFF2-40B4-BE49-F238E27FC236}">
                <a16:creationId xmlns:a16="http://schemas.microsoft.com/office/drawing/2014/main" id="{CE96BF5B-E822-4178-8964-DCED4B1F8CD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39476" y="743133"/>
            <a:ext cx="2686047" cy="339724"/>
          </a:xfrm>
          <a:prstGeom prst="rect">
            <a:avLst/>
          </a:prstGeom>
        </p:spPr>
      </p:pic>
    </p:spTree>
    <p:extLst>
      <p:ext uri="{BB962C8B-B14F-4D97-AF65-F5344CB8AC3E}">
        <p14:creationId xmlns:p14="http://schemas.microsoft.com/office/powerpoint/2010/main" val="2139898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CB4153A-D463-4E5A-9ABB-60DA50C563D1}"/>
              </a:ext>
            </a:extLst>
          </p:cNvPr>
          <p:cNvSpPr>
            <a:spLocks noGrp="1"/>
          </p:cNvSpPr>
          <p:nvPr>
            <p:ph type="dt" sz="half" idx="10"/>
          </p:nvPr>
        </p:nvSpPr>
        <p:spPr/>
        <p:txBody>
          <a:bodyPr/>
          <a:lstStyle/>
          <a:p>
            <a:fld id="{D326F819-7E9B-4CE5-BB86-71916A59D508}" type="datetime6">
              <a:rPr lang="en-GB" smtClean="0"/>
              <a:t>November 21</a:t>
            </a:fld>
            <a:endParaRPr lang="en-GB"/>
          </a:p>
        </p:txBody>
      </p:sp>
      <p:sp>
        <p:nvSpPr>
          <p:cNvPr id="3" name="Footer Placeholder 2">
            <a:extLst>
              <a:ext uri="{FF2B5EF4-FFF2-40B4-BE49-F238E27FC236}">
                <a16:creationId xmlns:a16="http://schemas.microsoft.com/office/drawing/2014/main" id="{A1B523D0-BABA-4164-A161-8105A95A536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938766BB-9637-4BF8-9346-DD2EDC7E8FC2}"/>
              </a:ext>
            </a:extLst>
          </p:cNvPr>
          <p:cNvSpPr>
            <a:spLocks noGrp="1"/>
          </p:cNvSpPr>
          <p:nvPr>
            <p:ph type="sldNum" sz="quarter" idx="12"/>
          </p:nvPr>
        </p:nvSpPr>
        <p:spPr/>
        <p:txBody>
          <a:bodyPr/>
          <a:lstStyle/>
          <a:p>
            <a:fld id="{F4186869-B628-4395-96ED-AD53145CB3D4}" type="slidenum">
              <a:rPr lang="en-GB" smtClean="0"/>
              <a:t>‹#›</a:t>
            </a:fld>
            <a:endParaRPr lang="en-GB"/>
          </a:p>
        </p:txBody>
      </p:sp>
    </p:spTree>
    <p:extLst>
      <p:ext uri="{BB962C8B-B14F-4D97-AF65-F5344CB8AC3E}">
        <p14:creationId xmlns:p14="http://schemas.microsoft.com/office/powerpoint/2010/main" val="1762402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Rest of the slid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54720505"/>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2" name="Object 1" hidden="1"/>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9" name="Title Placeholder 21"/>
          <p:cNvSpPr>
            <a:spLocks noGrp="1"/>
          </p:cNvSpPr>
          <p:nvPr>
            <p:ph type="title"/>
          </p:nvPr>
        </p:nvSpPr>
        <p:spPr>
          <a:xfrm>
            <a:off x="486834" y="254000"/>
            <a:ext cx="11218333" cy="443198"/>
          </a:xfrm>
          <a:prstGeom prst="rect">
            <a:avLst/>
          </a:prstGeom>
        </p:spPr>
        <p:txBody>
          <a:bodyPr vert="horz" lIns="0" tIns="0" rIns="0" bIns="0" anchor="t">
            <a:spAutoFit/>
          </a:bodyPr>
          <a:lstStyle>
            <a:lvl1pPr algn="l" rtl="0" eaLnBrk="1" latinLnBrk="0" hangingPunct="1">
              <a:lnSpc>
                <a:spcPct val="90000"/>
              </a:lnSpc>
              <a:spcBef>
                <a:spcPct val="0"/>
              </a:spcBef>
              <a:buNone/>
              <a:defRPr kumimoji="0" lang="en-US" sz="3200" b="1" kern="1200" dirty="0">
                <a:ln>
                  <a:noFill/>
                </a:ln>
                <a:solidFill>
                  <a:schemeClr val="tx1">
                    <a:lumMod val="75000"/>
                    <a:lumOff val="25000"/>
                  </a:schemeClr>
                </a:solidFill>
                <a:latin typeface="+mj-lt"/>
                <a:ea typeface="+mj-ea"/>
                <a:cs typeface="Arial" pitchFamily="34" charset="0"/>
              </a:defRPr>
            </a:lvl1pPr>
          </a:lstStyle>
          <a:p>
            <a:pPr lvl="0"/>
            <a:r>
              <a:rPr kumimoji="0" lang="en-US"/>
              <a:t>Click to edit Master title style</a:t>
            </a:r>
          </a:p>
        </p:txBody>
      </p:sp>
    </p:spTree>
    <p:extLst>
      <p:ext uri="{BB962C8B-B14F-4D97-AF65-F5344CB8AC3E}">
        <p14:creationId xmlns:p14="http://schemas.microsoft.com/office/powerpoint/2010/main" val="39567869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 Type="http://schemas.openxmlformats.org/officeDocument/2006/relationships/slideLayout" Target="../slideLayouts/slideLayout12.xml"/><Relationship Id="rId21" Type="http://schemas.openxmlformats.org/officeDocument/2006/relationships/theme" Target="../theme/theme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image" Target="../media/image5.png"/><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theme" Target="../theme/theme3.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image" Target="../media/image5.png"/><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10" Type="http://schemas.openxmlformats.org/officeDocument/2006/relationships/slideLayout" Target="../slideLayouts/slideLayout57.xml"/><Relationship Id="rId19" Type="http://schemas.openxmlformats.org/officeDocument/2006/relationships/theme" Target="../theme/theme4.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28D329D-9C92-4D14-9137-628BA062452F}"/>
              </a:ext>
            </a:extLst>
          </p:cNvPr>
          <p:cNvSpPr>
            <a:spLocks noGrp="1"/>
          </p:cNvSpPr>
          <p:nvPr>
            <p:ph type="ftr" sz="quarter" idx="3"/>
          </p:nvPr>
        </p:nvSpPr>
        <p:spPr>
          <a:xfrm>
            <a:off x="719400" y="6350000"/>
            <a:ext cx="8520076" cy="153888"/>
          </a:xfrm>
          <a:prstGeom prst="rect">
            <a:avLst/>
          </a:prstGeom>
        </p:spPr>
        <p:txBody>
          <a:bodyPr vert="horz" wrap="square" lIns="0" tIns="0" rIns="0" bIns="0" rtlCol="0" anchor="t" anchorCtr="0">
            <a:spAutoFit/>
          </a:bodyPr>
          <a:lstStyle>
            <a:lvl1pPr algn="l">
              <a:defRPr sz="1000">
                <a:solidFill>
                  <a:schemeClr val="tx1"/>
                </a:solidFill>
              </a:defRPr>
            </a:lvl1pPr>
          </a:lstStyle>
          <a:p>
            <a:endParaRPr lang="en-GB"/>
          </a:p>
        </p:txBody>
      </p:sp>
      <p:sp>
        <p:nvSpPr>
          <p:cNvPr id="2" name="Title Placeholder 1">
            <a:extLst>
              <a:ext uri="{FF2B5EF4-FFF2-40B4-BE49-F238E27FC236}">
                <a16:creationId xmlns:a16="http://schemas.microsoft.com/office/drawing/2014/main" id="{7FB6085F-971E-4769-9536-3586F755D2B3}"/>
              </a:ext>
            </a:extLst>
          </p:cNvPr>
          <p:cNvSpPr>
            <a:spLocks noGrp="1"/>
          </p:cNvSpPr>
          <p:nvPr>
            <p:ph type="title"/>
          </p:nvPr>
        </p:nvSpPr>
        <p:spPr>
          <a:xfrm>
            <a:off x="719400" y="746251"/>
            <a:ext cx="8676000" cy="369332"/>
          </a:xfrm>
          <a:prstGeom prst="rect">
            <a:avLst/>
          </a:prstGeom>
        </p:spPr>
        <p:txBody>
          <a:bodyPr vert="horz" lIns="0" tIns="0" rIns="0" bIns="0" rtlCol="0" anchor="ctr">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33C3E54-A1EC-44E0-AC16-3AAA04AC41D5}"/>
              </a:ext>
            </a:extLst>
          </p:cNvPr>
          <p:cNvSpPr>
            <a:spLocks noGrp="1"/>
          </p:cNvSpPr>
          <p:nvPr>
            <p:ph type="body" idx="1"/>
          </p:nvPr>
        </p:nvSpPr>
        <p:spPr>
          <a:xfrm>
            <a:off x="719400" y="1720839"/>
            <a:ext cx="10753200" cy="43920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17A7F95-B6E0-4403-8D84-CCD46FFAE4BE}"/>
              </a:ext>
            </a:extLst>
          </p:cNvPr>
          <p:cNvSpPr>
            <a:spLocks noGrp="1"/>
          </p:cNvSpPr>
          <p:nvPr>
            <p:ph type="dt" sz="half" idx="2"/>
          </p:nvPr>
        </p:nvSpPr>
        <p:spPr>
          <a:xfrm>
            <a:off x="9240038" y="6350000"/>
            <a:ext cx="1800000" cy="153888"/>
          </a:xfrm>
          <a:prstGeom prst="rect">
            <a:avLst/>
          </a:prstGeom>
        </p:spPr>
        <p:txBody>
          <a:bodyPr vert="horz" lIns="0" tIns="0" rIns="0" bIns="0" rtlCol="0" anchor="t" anchorCtr="0">
            <a:spAutoFit/>
          </a:bodyPr>
          <a:lstStyle>
            <a:lvl1pPr algn="r">
              <a:defRPr sz="1000">
                <a:solidFill>
                  <a:schemeClr val="tx1"/>
                </a:solidFill>
              </a:defRPr>
            </a:lvl1pPr>
          </a:lstStyle>
          <a:p>
            <a:fld id="{8388E531-2A52-4EEA-881C-ED5D1C66D61F}" type="datetime6">
              <a:rPr lang="en-GB" smtClean="0"/>
              <a:pPr/>
              <a:t>November 21</a:t>
            </a:fld>
            <a:endParaRPr lang="en-GB"/>
          </a:p>
        </p:txBody>
      </p:sp>
      <p:sp>
        <p:nvSpPr>
          <p:cNvPr id="6" name="Slide Number Placeholder 5">
            <a:extLst>
              <a:ext uri="{FF2B5EF4-FFF2-40B4-BE49-F238E27FC236}">
                <a16:creationId xmlns:a16="http://schemas.microsoft.com/office/drawing/2014/main" id="{E413A5E8-6638-4B31-9845-9F4338CD87EC}"/>
              </a:ext>
            </a:extLst>
          </p:cNvPr>
          <p:cNvSpPr>
            <a:spLocks noGrp="1"/>
          </p:cNvSpPr>
          <p:nvPr>
            <p:ph type="sldNum" sz="quarter" idx="4"/>
          </p:nvPr>
        </p:nvSpPr>
        <p:spPr>
          <a:xfrm>
            <a:off x="11040600" y="6350000"/>
            <a:ext cx="432000" cy="153888"/>
          </a:xfrm>
          <a:prstGeom prst="rect">
            <a:avLst/>
          </a:prstGeom>
        </p:spPr>
        <p:txBody>
          <a:bodyPr vert="horz" lIns="0" tIns="0" rIns="0" bIns="0" rtlCol="0" anchor="t" anchorCtr="0">
            <a:spAutoFit/>
          </a:bodyPr>
          <a:lstStyle>
            <a:lvl1pPr algn="r">
              <a:defRPr sz="1000">
                <a:solidFill>
                  <a:schemeClr val="tx1"/>
                </a:solidFill>
              </a:defRPr>
            </a:lvl1pPr>
          </a:lstStyle>
          <a:p>
            <a:fld id="{F4186869-B628-4395-96ED-AD53145CB3D4}" type="slidenum">
              <a:rPr lang="en-GB" smtClean="0"/>
              <a:pPr/>
              <a:t>‹#›</a:t>
            </a:fld>
            <a:endParaRPr lang="en-GB"/>
          </a:p>
        </p:txBody>
      </p:sp>
    </p:spTree>
    <p:extLst>
      <p:ext uri="{BB962C8B-B14F-4D97-AF65-F5344CB8AC3E}">
        <p14:creationId xmlns:p14="http://schemas.microsoft.com/office/powerpoint/2010/main" val="653472604"/>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7" r:id="rId3"/>
    <p:sldLayoutId id="2147483658" r:id="rId4"/>
    <p:sldLayoutId id="2147483650" r:id="rId5"/>
    <p:sldLayoutId id="2147483659" r:id="rId6"/>
    <p:sldLayoutId id="2147483654" r:id="rId7"/>
    <p:sldLayoutId id="2147483655" r:id="rId8"/>
    <p:sldLayoutId id="2147483660"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10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400" kern="1200">
          <a:solidFill>
            <a:schemeClr val="tx1"/>
          </a:solidFill>
          <a:latin typeface="+mn-lt"/>
          <a:ea typeface="+mn-ea"/>
          <a:cs typeface="+mn-cs"/>
        </a:defRPr>
      </a:lvl1pPr>
      <a:lvl2pPr marL="216000" indent="-216000" algn="l" defTabSz="914400" rtl="0" eaLnBrk="1" latinLnBrk="0" hangingPunct="1">
        <a:lnSpc>
          <a:spcPct val="100000"/>
        </a:lnSpc>
        <a:spcBef>
          <a:spcPts val="0"/>
        </a:spcBef>
        <a:buFont typeface="Arial" panose="020B0604020202020204" pitchFamily="34" charset="0"/>
        <a:buChar char="•"/>
        <a:defRPr sz="2400" kern="1200">
          <a:solidFill>
            <a:schemeClr val="tx1"/>
          </a:solidFill>
          <a:latin typeface="+mn-lt"/>
          <a:ea typeface="+mn-ea"/>
          <a:cs typeface="+mn-cs"/>
        </a:defRPr>
      </a:lvl2pPr>
      <a:lvl3pPr marL="432000" indent="-216000" algn="l" defTabSz="914400" rtl="0" eaLnBrk="1" latinLnBrk="0" hangingPunct="1">
        <a:lnSpc>
          <a:spcPct val="100000"/>
        </a:lnSpc>
        <a:spcBef>
          <a:spcPts val="0"/>
        </a:spcBef>
        <a:buFont typeface="Overpass Light" panose="00000400000000000000" pitchFamily="2" charset="0"/>
        <a:buChar char="–"/>
        <a:defRPr sz="2400" kern="1200">
          <a:solidFill>
            <a:schemeClr val="tx1"/>
          </a:solidFill>
          <a:latin typeface="+mn-lt"/>
          <a:ea typeface="+mn-ea"/>
          <a:cs typeface="+mn-cs"/>
        </a:defRPr>
      </a:lvl3pPr>
      <a:lvl4pPr marL="360000" indent="-360000" algn="l" defTabSz="914400" rtl="0" eaLnBrk="1" latinLnBrk="0" hangingPunct="1">
        <a:lnSpc>
          <a:spcPct val="100000"/>
        </a:lnSpc>
        <a:spcBef>
          <a:spcPts val="0"/>
        </a:spcBef>
        <a:buFont typeface="+mj-lt"/>
        <a:buAutoNum type="arabicPeriod"/>
        <a:defRPr sz="2400" kern="1200">
          <a:solidFill>
            <a:schemeClr val="tx1"/>
          </a:solidFill>
          <a:latin typeface="+mn-lt"/>
          <a:ea typeface="+mn-ea"/>
          <a:cs typeface="+mn-cs"/>
        </a:defRPr>
      </a:lvl4pPr>
      <a:lvl5pPr marL="720000" indent="-360000" algn="l" defTabSz="914400" rtl="0" eaLnBrk="1" latinLnBrk="0" hangingPunct="1">
        <a:lnSpc>
          <a:spcPct val="100000"/>
        </a:lnSpc>
        <a:spcBef>
          <a:spcPts val="0"/>
        </a:spcBef>
        <a:buFont typeface="+mj-lt"/>
        <a:buAutoNum type="alphaLcPeriod"/>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F911B14-17B4-450B-8A01-F8A28363F4BA}"/>
              </a:ext>
            </a:extLst>
          </p:cNvPr>
          <p:cNvSpPr>
            <a:spLocks noGrp="1"/>
          </p:cNvSpPr>
          <p:nvPr>
            <p:ph type="title"/>
          </p:nvPr>
        </p:nvSpPr>
        <p:spPr>
          <a:xfrm>
            <a:off x="472917" y="3901"/>
            <a:ext cx="8861583" cy="852602"/>
          </a:xfrm>
          <a:prstGeom prst="rect">
            <a:avLst/>
          </a:prstGeom>
        </p:spPr>
        <p:txBody>
          <a:bodyPr vert="horz" lIns="0" tIns="0" rIns="0" bIns="0" rtlCol="0" anchor="b">
            <a:noAutofit/>
          </a:bodyPr>
          <a:lstStyle/>
          <a:p>
            <a:r>
              <a:rPr lang="en-US" dirty="0"/>
              <a:t>Title</a:t>
            </a:r>
            <a:endParaRPr lang="en-GB" dirty="0"/>
          </a:p>
        </p:txBody>
      </p:sp>
      <p:sp>
        <p:nvSpPr>
          <p:cNvPr id="3" name="Text Placeholder 2">
            <a:extLst>
              <a:ext uri="{FF2B5EF4-FFF2-40B4-BE49-F238E27FC236}">
                <a16:creationId xmlns:a16="http://schemas.microsoft.com/office/drawing/2014/main" id="{3C70CC9E-F292-466B-9524-EAA117161A3A}"/>
              </a:ext>
            </a:extLst>
          </p:cNvPr>
          <p:cNvSpPr>
            <a:spLocks noGrp="1"/>
          </p:cNvSpPr>
          <p:nvPr>
            <p:ph type="body" idx="1"/>
          </p:nvPr>
        </p:nvSpPr>
        <p:spPr>
          <a:xfrm>
            <a:off x="464965" y="1827925"/>
            <a:ext cx="11260309"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Box 11">
            <a:extLst>
              <a:ext uri="{FF2B5EF4-FFF2-40B4-BE49-F238E27FC236}">
                <a16:creationId xmlns:a16="http://schemas.microsoft.com/office/drawing/2014/main" id="{C396D2FB-359A-4F0E-BE45-8921A3477245}"/>
              </a:ext>
            </a:extLst>
          </p:cNvPr>
          <p:cNvSpPr txBox="1"/>
          <p:nvPr userDrawn="1"/>
        </p:nvSpPr>
        <p:spPr>
          <a:xfrm>
            <a:off x="373711" y="6453309"/>
            <a:ext cx="3872286" cy="215444"/>
          </a:xfrm>
          <a:prstGeom prst="rect">
            <a:avLst/>
          </a:prstGeom>
          <a:noFill/>
        </p:spPr>
        <p:txBody>
          <a:bodyPr wrap="square" rtlCol="0">
            <a:spAutoFit/>
          </a:bodyPr>
          <a:lstStyle/>
          <a:p>
            <a:r>
              <a:rPr lang="en-GB" sz="800" dirty="0" err="1">
                <a:solidFill>
                  <a:schemeClr val="accent5"/>
                </a:solidFill>
                <a:latin typeface="Poppins Medium" panose="02000000000000000000" pitchFamily="2" charset="0"/>
                <a:cs typeface="Poppins Medium" panose="02000000000000000000" pitchFamily="2" charset="0"/>
              </a:rPr>
              <a:t>Zemo</a:t>
            </a:r>
            <a:r>
              <a:rPr lang="en-GB" sz="800" dirty="0">
                <a:solidFill>
                  <a:schemeClr val="accent5"/>
                </a:solidFill>
                <a:latin typeface="Poppins Medium" panose="02000000000000000000" pitchFamily="2" charset="0"/>
                <a:cs typeface="Poppins Medium" panose="02000000000000000000" pitchFamily="2" charset="0"/>
              </a:rPr>
              <a:t> Partnership </a:t>
            </a:r>
            <a:r>
              <a:rPr lang="en-GB" sz="800" dirty="0">
                <a:solidFill>
                  <a:schemeClr val="accent5"/>
                </a:solidFill>
                <a:latin typeface="Poppins" panose="02000000000000000000" pitchFamily="2" charset="0"/>
                <a:cs typeface="Poppins" panose="02000000000000000000" pitchFamily="2" charset="0"/>
              </a:rPr>
              <a:t>© Copyright 2021</a:t>
            </a:r>
          </a:p>
        </p:txBody>
      </p:sp>
      <p:pic>
        <p:nvPicPr>
          <p:cNvPr id="10" name="Picture 9">
            <a:extLst>
              <a:ext uri="{FF2B5EF4-FFF2-40B4-BE49-F238E27FC236}">
                <a16:creationId xmlns:a16="http://schemas.microsoft.com/office/drawing/2014/main" id="{59F0933B-2B17-4744-9113-A0E23C8011BB}"/>
              </a:ext>
            </a:extLst>
          </p:cNvPr>
          <p:cNvPicPr>
            <a:picLocks noChangeAspect="1"/>
          </p:cNvPicPr>
          <p:nvPr userDrawn="1"/>
        </p:nvPicPr>
        <p:blipFill>
          <a:blip r:embed="rId22" cstate="print">
            <a:extLst>
              <a:ext uri="{28A0092B-C50C-407E-A947-70E740481C1C}">
                <a14:useLocalDpi xmlns:a14="http://schemas.microsoft.com/office/drawing/2010/main"/>
              </a:ext>
            </a:extLst>
          </a:blip>
          <a:stretch>
            <a:fillRect/>
          </a:stretch>
        </p:blipFill>
        <p:spPr>
          <a:xfrm>
            <a:off x="9025850" y="202927"/>
            <a:ext cx="2876590" cy="1033775"/>
          </a:xfrm>
          <a:prstGeom prst="rect">
            <a:avLst/>
          </a:prstGeom>
        </p:spPr>
      </p:pic>
    </p:spTree>
    <p:extLst>
      <p:ext uri="{BB962C8B-B14F-4D97-AF65-F5344CB8AC3E}">
        <p14:creationId xmlns:p14="http://schemas.microsoft.com/office/powerpoint/2010/main" val="2474278506"/>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Lst>
  <p:hf hdr="0" ftr="0" dt="0"/>
  <p:txStyles>
    <p:titleStyle>
      <a:lvl1pPr algn="l" defTabSz="914400" rtl="0" eaLnBrk="1" latinLnBrk="0" hangingPunct="1">
        <a:lnSpc>
          <a:spcPct val="90000"/>
        </a:lnSpc>
        <a:spcBef>
          <a:spcPct val="0"/>
        </a:spcBef>
        <a:buNone/>
        <a:defRPr sz="2800" kern="1200">
          <a:solidFill>
            <a:schemeClr val="tx1"/>
          </a:solidFill>
          <a:latin typeface="Poppins SemiBold" panose="02000000000000000000" pitchFamily="2" charset="0"/>
          <a:ea typeface="+mj-ea"/>
          <a:cs typeface="Poppins SemiBold" panose="02000000000000000000" pitchFamily="2" charset="0"/>
        </a:defRPr>
      </a:lvl1pPr>
    </p:titleStyle>
    <p:bodyStyle>
      <a:lvl1pPr marL="228600" indent="-228600" algn="l" defTabSz="914400" rtl="0" eaLnBrk="1" latinLnBrk="0" hangingPunct="1">
        <a:lnSpc>
          <a:spcPct val="125000"/>
        </a:lnSpc>
        <a:spcBef>
          <a:spcPts val="1000"/>
        </a:spcBef>
        <a:buFont typeface="Wingdings 2" panose="05020102010507070707" pitchFamily="18" charset="2"/>
        <a:buChar char=""/>
        <a:defRPr sz="2000" kern="1200">
          <a:solidFill>
            <a:schemeClr val="tx1"/>
          </a:solidFill>
          <a:latin typeface="Poppins Medium" panose="02000000000000000000" pitchFamily="2" charset="0"/>
          <a:ea typeface="+mn-ea"/>
          <a:cs typeface="Poppins Medium" panose="02000000000000000000" pitchFamily="2" charset="0"/>
        </a:defRPr>
      </a:lvl1pPr>
      <a:lvl2pPr marL="477838" indent="-231775" algn="l" defTabSz="914400" rtl="0" eaLnBrk="1" latinLnBrk="0" hangingPunct="1">
        <a:lnSpc>
          <a:spcPct val="125000"/>
        </a:lnSpc>
        <a:spcBef>
          <a:spcPts val="500"/>
        </a:spcBef>
        <a:buFont typeface="Wingdings 2" panose="05020102010507070707" pitchFamily="18" charset="2"/>
        <a:buChar char=""/>
        <a:defRPr sz="2000" kern="1200">
          <a:solidFill>
            <a:schemeClr val="tx1"/>
          </a:solidFill>
          <a:latin typeface="Poppins Light" panose="02000000000000000000" pitchFamily="2" charset="0"/>
          <a:ea typeface="+mn-ea"/>
          <a:cs typeface="Poppins Light" panose="02000000000000000000" pitchFamily="2" charset="0"/>
        </a:defRPr>
      </a:lvl2pPr>
      <a:lvl3pPr marL="771525" indent="-254000" algn="l" defTabSz="914400" rtl="0" eaLnBrk="1" latinLnBrk="0" hangingPunct="1">
        <a:lnSpc>
          <a:spcPct val="125000"/>
        </a:lnSpc>
        <a:spcBef>
          <a:spcPts val="500"/>
        </a:spcBef>
        <a:buFont typeface="Wingdings 2" panose="05020102010507070707" pitchFamily="18" charset="2"/>
        <a:buChar char=""/>
        <a:defRPr sz="1800" kern="1200">
          <a:solidFill>
            <a:schemeClr val="tx1"/>
          </a:solidFill>
          <a:latin typeface="Poppins Light" panose="02000000000000000000" pitchFamily="2" charset="0"/>
          <a:ea typeface="+mn-ea"/>
          <a:cs typeface="Poppins Light" panose="02000000000000000000" pitchFamily="2" charset="0"/>
        </a:defRPr>
      </a:lvl3pPr>
      <a:lvl4pPr marL="1049338" indent="-285750" algn="l" defTabSz="914400" rtl="0" eaLnBrk="1" latinLnBrk="0" hangingPunct="1">
        <a:lnSpc>
          <a:spcPct val="125000"/>
        </a:lnSpc>
        <a:spcBef>
          <a:spcPts val="500"/>
        </a:spcBef>
        <a:buFont typeface="Wingdings 2" panose="05020102010507070707" pitchFamily="18" charset="2"/>
        <a:buChar char=""/>
        <a:defRPr sz="1800" kern="1200">
          <a:solidFill>
            <a:schemeClr val="tx1"/>
          </a:solidFill>
          <a:latin typeface="Poppins Light" panose="02000000000000000000" pitchFamily="2" charset="0"/>
          <a:ea typeface="+mn-ea"/>
          <a:cs typeface="Poppins Light" panose="02000000000000000000" pitchFamily="2" charset="0"/>
        </a:defRPr>
      </a:lvl4pPr>
      <a:lvl5pPr marL="1350963" indent="-293688" algn="l" defTabSz="914400" rtl="0" eaLnBrk="1" latinLnBrk="0" hangingPunct="1">
        <a:lnSpc>
          <a:spcPct val="125000"/>
        </a:lnSpc>
        <a:spcBef>
          <a:spcPts val="500"/>
        </a:spcBef>
        <a:buFont typeface="Wingdings 2" panose="05020102010507070707" pitchFamily="18" charset="2"/>
        <a:buChar char=""/>
        <a:defRPr sz="1800" kern="1200">
          <a:solidFill>
            <a:schemeClr val="tx1"/>
          </a:solidFill>
          <a:latin typeface="Poppins Light" panose="02000000000000000000" pitchFamily="2" charset="0"/>
          <a:ea typeface="+mn-ea"/>
          <a:cs typeface="Poppins Light"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4">
          <p15:clr>
            <a:srgbClr val="F26B43"/>
          </p15:clr>
        </p15:guide>
        <p15:guide id="2" orient="horz" pos="1162">
          <p15:clr>
            <a:srgbClr val="F26B43"/>
          </p15:clr>
        </p15:guide>
        <p15:guide id="3" orient="horz" pos="440">
          <p15:clr>
            <a:srgbClr val="F26B43"/>
          </p15:clr>
        </p15:guide>
        <p15:guide id="4" pos="738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F911B14-17B4-450B-8A01-F8A28363F4BA}"/>
              </a:ext>
            </a:extLst>
          </p:cNvPr>
          <p:cNvSpPr>
            <a:spLocks noGrp="1"/>
          </p:cNvSpPr>
          <p:nvPr>
            <p:ph type="title"/>
          </p:nvPr>
        </p:nvSpPr>
        <p:spPr>
          <a:xfrm>
            <a:off x="472918" y="3901"/>
            <a:ext cx="8861583" cy="852603"/>
          </a:xfrm>
          <a:prstGeom prst="rect">
            <a:avLst/>
          </a:prstGeom>
        </p:spPr>
        <p:txBody>
          <a:bodyPr vert="horz" lIns="0" tIns="0" rIns="0" bIns="0" rtlCol="0" anchor="b">
            <a:noAutofit/>
          </a:bodyPr>
          <a:lstStyle/>
          <a:p>
            <a:r>
              <a:rPr lang="en-US" dirty="0"/>
              <a:t>Title</a:t>
            </a:r>
            <a:endParaRPr lang="en-GB" dirty="0"/>
          </a:p>
        </p:txBody>
      </p:sp>
      <p:sp>
        <p:nvSpPr>
          <p:cNvPr id="3" name="Text Placeholder 2">
            <a:extLst>
              <a:ext uri="{FF2B5EF4-FFF2-40B4-BE49-F238E27FC236}">
                <a16:creationId xmlns:a16="http://schemas.microsoft.com/office/drawing/2014/main" id="{3C70CC9E-F292-466B-9524-EAA117161A3A}"/>
              </a:ext>
            </a:extLst>
          </p:cNvPr>
          <p:cNvSpPr>
            <a:spLocks noGrp="1"/>
          </p:cNvSpPr>
          <p:nvPr>
            <p:ph type="body" idx="1"/>
          </p:nvPr>
        </p:nvSpPr>
        <p:spPr>
          <a:xfrm>
            <a:off x="464966" y="1827925"/>
            <a:ext cx="11260309" cy="435133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Box 11">
            <a:extLst>
              <a:ext uri="{FF2B5EF4-FFF2-40B4-BE49-F238E27FC236}">
                <a16:creationId xmlns:a16="http://schemas.microsoft.com/office/drawing/2014/main" id="{C396D2FB-359A-4F0E-BE45-8921A3477245}"/>
              </a:ext>
            </a:extLst>
          </p:cNvPr>
          <p:cNvSpPr txBox="1"/>
          <p:nvPr userDrawn="1"/>
        </p:nvSpPr>
        <p:spPr>
          <a:xfrm>
            <a:off x="373711" y="6453309"/>
            <a:ext cx="3872287" cy="215444"/>
          </a:xfrm>
          <a:prstGeom prst="rect">
            <a:avLst/>
          </a:prstGeom>
          <a:noFill/>
        </p:spPr>
        <p:txBody>
          <a:bodyPr wrap="square" rtlCol="0">
            <a:spAutoFit/>
          </a:bodyPr>
          <a:lstStyle/>
          <a:p>
            <a:r>
              <a:rPr lang="en-GB" sz="800" dirty="0" err="1">
                <a:solidFill>
                  <a:schemeClr val="accent5"/>
                </a:solidFill>
                <a:latin typeface="Poppins Medium" panose="02000000000000000000" pitchFamily="2" charset="0"/>
                <a:cs typeface="Poppins Medium" panose="02000000000000000000" pitchFamily="2" charset="0"/>
              </a:rPr>
              <a:t>Zemo</a:t>
            </a:r>
            <a:r>
              <a:rPr lang="en-GB" sz="800" dirty="0">
                <a:solidFill>
                  <a:schemeClr val="accent5"/>
                </a:solidFill>
                <a:latin typeface="Poppins Medium" panose="02000000000000000000" pitchFamily="2" charset="0"/>
                <a:cs typeface="Poppins Medium" panose="02000000000000000000" pitchFamily="2" charset="0"/>
              </a:rPr>
              <a:t> Partnership </a:t>
            </a:r>
            <a:r>
              <a:rPr lang="en-GB" sz="800" dirty="0">
                <a:solidFill>
                  <a:schemeClr val="accent5"/>
                </a:solidFill>
                <a:latin typeface="Poppins" panose="02000000000000000000" pitchFamily="2" charset="0"/>
                <a:cs typeface="Poppins" panose="02000000000000000000" pitchFamily="2" charset="0"/>
              </a:rPr>
              <a:t>© Copyright 2021</a:t>
            </a:r>
          </a:p>
        </p:txBody>
      </p:sp>
      <p:pic>
        <p:nvPicPr>
          <p:cNvPr id="10" name="Picture 9">
            <a:extLst>
              <a:ext uri="{FF2B5EF4-FFF2-40B4-BE49-F238E27FC236}">
                <a16:creationId xmlns:a16="http://schemas.microsoft.com/office/drawing/2014/main" id="{59F0933B-2B17-4744-9113-A0E23C8011BB}"/>
              </a:ext>
            </a:extLst>
          </p:cNvPr>
          <p:cNvPicPr>
            <a:picLocks noChangeAspect="1"/>
          </p:cNvPicPr>
          <p:nvPr userDrawn="1"/>
        </p:nvPicPr>
        <p:blipFill>
          <a:blip r:embed="rId20" cstate="print">
            <a:extLst>
              <a:ext uri="{28A0092B-C50C-407E-A947-70E740481C1C}">
                <a14:useLocalDpi xmlns:a14="http://schemas.microsoft.com/office/drawing/2010/main"/>
              </a:ext>
            </a:extLst>
          </a:blip>
          <a:stretch>
            <a:fillRect/>
          </a:stretch>
        </p:blipFill>
        <p:spPr>
          <a:xfrm>
            <a:off x="9025850" y="202929"/>
            <a:ext cx="2876591" cy="1033775"/>
          </a:xfrm>
          <a:prstGeom prst="rect">
            <a:avLst/>
          </a:prstGeom>
        </p:spPr>
      </p:pic>
    </p:spTree>
    <p:extLst>
      <p:ext uri="{BB962C8B-B14F-4D97-AF65-F5344CB8AC3E}">
        <p14:creationId xmlns:p14="http://schemas.microsoft.com/office/powerpoint/2010/main" val="351245956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Lst>
  <p:hf hdr="0" ftr="0" dt="0"/>
  <p:txStyles>
    <p:titleStyle>
      <a:lvl1pPr algn="l" defTabSz="914377" rtl="0" eaLnBrk="1" latinLnBrk="0" hangingPunct="1">
        <a:lnSpc>
          <a:spcPct val="90000"/>
        </a:lnSpc>
        <a:spcBef>
          <a:spcPct val="0"/>
        </a:spcBef>
        <a:buNone/>
        <a:defRPr sz="2800" kern="1200">
          <a:solidFill>
            <a:schemeClr val="tx1"/>
          </a:solidFill>
          <a:latin typeface="Poppins SemiBold" panose="02000000000000000000" pitchFamily="2" charset="0"/>
          <a:ea typeface="+mj-ea"/>
          <a:cs typeface="Poppins SemiBold" panose="02000000000000000000" pitchFamily="2" charset="0"/>
        </a:defRPr>
      </a:lvl1pPr>
    </p:titleStyle>
    <p:bodyStyle>
      <a:lvl1pPr marL="228594" indent="-228594" algn="l" defTabSz="914377" rtl="0" eaLnBrk="1" latinLnBrk="0" hangingPunct="1">
        <a:lnSpc>
          <a:spcPct val="125000"/>
        </a:lnSpc>
        <a:spcBef>
          <a:spcPts val="1000"/>
        </a:spcBef>
        <a:buFont typeface="Wingdings 2" panose="05020102010507070707" pitchFamily="18" charset="2"/>
        <a:buChar char=""/>
        <a:defRPr sz="2000" kern="1200">
          <a:solidFill>
            <a:schemeClr val="tx1"/>
          </a:solidFill>
          <a:latin typeface="Poppins Medium" panose="02000000000000000000" pitchFamily="2" charset="0"/>
          <a:ea typeface="+mn-ea"/>
          <a:cs typeface="Poppins Medium" panose="02000000000000000000" pitchFamily="2" charset="0"/>
        </a:defRPr>
      </a:lvl1pPr>
      <a:lvl2pPr marL="477827" indent="-231769" algn="l" defTabSz="914377" rtl="0" eaLnBrk="1" latinLnBrk="0" hangingPunct="1">
        <a:lnSpc>
          <a:spcPct val="125000"/>
        </a:lnSpc>
        <a:spcBef>
          <a:spcPts val="500"/>
        </a:spcBef>
        <a:buFont typeface="Wingdings 2" panose="05020102010507070707" pitchFamily="18" charset="2"/>
        <a:buChar char=""/>
        <a:defRPr sz="2000" kern="1200">
          <a:solidFill>
            <a:schemeClr val="tx1"/>
          </a:solidFill>
          <a:latin typeface="Poppins Light" panose="02000000000000000000" pitchFamily="2" charset="0"/>
          <a:ea typeface="+mn-ea"/>
          <a:cs typeface="Poppins Light" panose="02000000000000000000" pitchFamily="2" charset="0"/>
        </a:defRPr>
      </a:lvl2pPr>
      <a:lvl3pPr marL="771506" indent="-253994" algn="l" defTabSz="914377" rtl="0" eaLnBrk="1" latinLnBrk="0" hangingPunct="1">
        <a:lnSpc>
          <a:spcPct val="125000"/>
        </a:lnSpc>
        <a:spcBef>
          <a:spcPts val="500"/>
        </a:spcBef>
        <a:buFont typeface="Wingdings 2" panose="05020102010507070707" pitchFamily="18" charset="2"/>
        <a:buChar char=""/>
        <a:defRPr sz="1800" kern="1200">
          <a:solidFill>
            <a:schemeClr val="tx1"/>
          </a:solidFill>
          <a:latin typeface="Poppins Light" panose="02000000000000000000" pitchFamily="2" charset="0"/>
          <a:ea typeface="+mn-ea"/>
          <a:cs typeface="Poppins Light" panose="02000000000000000000" pitchFamily="2" charset="0"/>
        </a:defRPr>
      </a:lvl3pPr>
      <a:lvl4pPr marL="1049312" indent="-285744" algn="l" defTabSz="914377" rtl="0" eaLnBrk="1" latinLnBrk="0" hangingPunct="1">
        <a:lnSpc>
          <a:spcPct val="125000"/>
        </a:lnSpc>
        <a:spcBef>
          <a:spcPts val="500"/>
        </a:spcBef>
        <a:buFont typeface="Wingdings 2" panose="05020102010507070707" pitchFamily="18" charset="2"/>
        <a:buChar char=""/>
        <a:defRPr sz="1800" kern="1200">
          <a:solidFill>
            <a:schemeClr val="tx1"/>
          </a:solidFill>
          <a:latin typeface="Poppins Light" panose="02000000000000000000" pitchFamily="2" charset="0"/>
          <a:ea typeface="+mn-ea"/>
          <a:cs typeface="Poppins Light" panose="02000000000000000000" pitchFamily="2" charset="0"/>
        </a:defRPr>
      </a:lvl4pPr>
      <a:lvl5pPr marL="1350929" indent="-293681" algn="l" defTabSz="914377" rtl="0" eaLnBrk="1" latinLnBrk="0" hangingPunct="1">
        <a:lnSpc>
          <a:spcPct val="125000"/>
        </a:lnSpc>
        <a:spcBef>
          <a:spcPts val="500"/>
        </a:spcBef>
        <a:buFont typeface="Wingdings 2" panose="05020102010507070707" pitchFamily="18" charset="2"/>
        <a:buChar char=""/>
        <a:defRPr sz="1800" kern="1200">
          <a:solidFill>
            <a:schemeClr val="tx1"/>
          </a:solidFill>
          <a:latin typeface="Poppins Light" panose="02000000000000000000" pitchFamily="2" charset="0"/>
          <a:ea typeface="+mn-ea"/>
          <a:cs typeface="Poppins Light" panose="02000000000000000000" pitchFamily="2"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4">
          <p15:clr>
            <a:srgbClr val="F26B43"/>
          </p15:clr>
        </p15:guide>
        <p15:guide id="2" orient="horz" pos="1162">
          <p15:clr>
            <a:srgbClr val="F26B43"/>
          </p15:clr>
        </p15:guide>
        <p15:guide id="3" orient="horz" pos="440">
          <p15:clr>
            <a:srgbClr val="F26B43"/>
          </p15:clr>
        </p15:guide>
        <p15:guide id="4" pos="738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F911B14-17B4-450B-8A01-F8A28363F4BA}"/>
              </a:ext>
            </a:extLst>
          </p:cNvPr>
          <p:cNvSpPr>
            <a:spLocks noGrp="1"/>
          </p:cNvSpPr>
          <p:nvPr>
            <p:ph type="title"/>
          </p:nvPr>
        </p:nvSpPr>
        <p:spPr>
          <a:xfrm>
            <a:off x="472917" y="3901"/>
            <a:ext cx="8861583" cy="852602"/>
          </a:xfrm>
          <a:prstGeom prst="rect">
            <a:avLst/>
          </a:prstGeom>
        </p:spPr>
        <p:txBody>
          <a:bodyPr vert="horz" lIns="0" tIns="0" rIns="0" bIns="0" rtlCol="0" anchor="b">
            <a:noAutofit/>
          </a:bodyPr>
          <a:lstStyle/>
          <a:p>
            <a:r>
              <a:rPr lang="en-US" dirty="0"/>
              <a:t>Title</a:t>
            </a:r>
            <a:endParaRPr lang="en-GB" dirty="0"/>
          </a:p>
        </p:txBody>
      </p:sp>
      <p:sp>
        <p:nvSpPr>
          <p:cNvPr id="3" name="Text Placeholder 2">
            <a:extLst>
              <a:ext uri="{FF2B5EF4-FFF2-40B4-BE49-F238E27FC236}">
                <a16:creationId xmlns:a16="http://schemas.microsoft.com/office/drawing/2014/main" id="{3C70CC9E-F292-466B-9524-EAA117161A3A}"/>
              </a:ext>
            </a:extLst>
          </p:cNvPr>
          <p:cNvSpPr>
            <a:spLocks noGrp="1"/>
          </p:cNvSpPr>
          <p:nvPr>
            <p:ph type="body" idx="1"/>
          </p:nvPr>
        </p:nvSpPr>
        <p:spPr>
          <a:xfrm>
            <a:off x="464965" y="1827925"/>
            <a:ext cx="11260309"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0" name="Picture 9">
            <a:extLst>
              <a:ext uri="{FF2B5EF4-FFF2-40B4-BE49-F238E27FC236}">
                <a16:creationId xmlns:a16="http://schemas.microsoft.com/office/drawing/2014/main" id="{59F0933B-2B17-4744-9113-A0E23C8011BB}"/>
              </a:ext>
            </a:extLst>
          </p:cNvPr>
          <p:cNvPicPr>
            <a:picLocks noChangeAspect="1"/>
          </p:cNvPicPr>
          <p:nvPr userDrawn="1"/>
        </p:nvPicPr>
        <p:blipFill>
          <a:blip r:embed="rId20" cstate="print">
            <a:extLst>
              <a:ext uri="{28A0092B-C50C-407E-A947-70E740481C1C}">
                <a14:useLocalDpi xmlns:a14="http://schemas.microsoft.com/office/drawing/2010/main"/>
              </a:ext>
            </a:extLst>
          </a:blip>
          <a:stretch>
            <a:fillRect/>
          </a:stretch>
        </p:blipFill>
        <p:spPr>
          <a:xfrm>
            <a:off x="9025850" y="202927"/>
            <a:ext cx="2876590" cy="1033775"/>
          </a:xfrm>
          <a:prstGeom prst="rect">
            <a:avLst/>
          </a:prstGeom>
        </p:spPr>
      </p:pic>
    </p:spTree>
    <p:extLst>
      <p:ext uri="{BB962C8B-B14F-4D97-AF65-F5344CB8AC3E}">
        <p14:creationId xmlns:p14="http://schemas.microsoft.com/office/powerpoint/2010/main" val="3706970509"/>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Lst>
  <p:hf hdr="0" ftr="0" dt="0"/>
  <p:txStyles>
    <p:titleStyle>
      <a:lvl1pPr algn="l" defTabSz="914400" rtl="0" eaLnBrk="1" latinLnBrk="0" hangingPunct="1">
        <a:lnSpc>
          <a:spcPct val="90000"/>
        </a:lnSpc>
        <a:spcBef>
          <a:spcPct val="0"/>
        </a:spcBef>
        <a:buNone/>
        <a:defRPr sz="2800" kern="1200">
          <a:solidFill>
            <a:schemeClr val="tx1"/>
          </a:solidFill>
          <a:latin typeface="Poppins SemiBold" panose="02000000000000000000" pitchFamily="2" charset="0"/>
          <a:ea typeface="+mj-ea"/>
          <a:cs typeface="Poppins SemiBold" panose="02000000000000000000" pitchFamily="2" charset="0"/>
        </a:defRPr>
      </a:lvl1pPr>
    </p:titleStyle>
    <p:bodyStyle>
      <a:lvl1pPr marL="228600" indent="-228600" algn="l" defTabSz="914400" rtl="0" eaLnBrk="1" latinLnBrk="0" hangingPunct="1">
        <a:lnSpc>
          <a:spcPct val="125000"/>
        </a:lnSpc>
        <a:spcBef>
          <a:spcPts val="1000"/>
        </a:spcBef>
        <a:buFont typeface="Wingdings 2" panose="05020102010507070707" pitchFamily="18" charset="2"/>
        <a:buChar char=""/>
        <a:defRPr sz="2000" kern="1200">
          <a:solidFill>
            <a:schemeClr val="tx1"/>
          </a:solidFill>
          <a:latin typeface="Poppins Medium" panose="02000000000000000000" pitchFamily="2" charset="0"/>
          <a:ea typeface="+mn-ea"/>
          <a:cs typeface="Poppins Medium" panose="02000000000000000000" pitchFamily="2" charset="0"/>
        </a:defRPr>
      </a:lvl1pPr>
      <a:lvl2pPr marL="477838" indent="-231775" algn="l" defTabSz="914400" rtl="0" eaLnBrk="1" latinLnBrk="0" hangingPunct="1">
        <a:lnSpc>
          <a:spcPct val="125000"/>
        </a:lnSpc>
        <a:spcBef>
          <a:spcPts val="500"/>
        </a:spcBef>
        <a:buFont typeface="Wingdings 2" panose="05020102010507070707" pitchFamily="18" charset="2"/>
        <a:buChar char=""/>
        <a:defRPr sz="2000" kern="1200">
          <a:solidFill>
            <a:schemeClr val="tx1"/>
          </a:solidFill>
          <a:latin typeface="Poppins Light" panose="02000000000000000000" pitchFamily="2" charset="0"/>
          <a:ea typeface="+mn-ea"/>
          <a:cs typeface="Poppins Light" panose="02000000000000000000" pitchFamily="2" charset="0"/>
        </a:defRPr>
      </a:lvl2pPr>
      <a:lvl3pPr marL="771525" indent="-254000" algn="l" defTabSz="914400" rtl="0" eaLnBrk="1" latinLnBrk="0" hangingPunct="1">
        <a:lnSpc>
          <a:spcPct val="125000"/>
        </a:lnSpc>
        <a:spcBef>
          <a:spcPts val="500"/>
        </a:spcBef>
        <a:buFont typeface="Wingdings 2" panose="05020102010507070707" pitchFamily="18" charset="2"/>
        <a:buChar char=""/>
        <a:defRPr sz="1800" kern="1200">
          <a:solidFill>
            <a:schemeClr val="tx1"/>
          </a:solidFill>
          <a:latin typeface="Poppins Light" panose="02000000000000000000" pitchFamily="2" charset="0"/>
          <a:ea typeface="+mn-ea"/>
          <a:cs typeface="Poppins Light" panose="02000000000000000000" pitchFamily="2" charset="0"/>
        </a:defRPr>
      </a:lvl3pPr>
      <a:lvl4pPr marL="1049338" indent="-285750" algn="l" defTabSz="914400" rtl="0" eaLnBrk="1" latinLnBrk="0" hangingPunct="1">
        <a:lnSpc>
          <a:spcPct val="125000"/>
        </a:lnSpc>
        <a:spcBef>
          <a:spcPts val="500"/>
        </a:spcBef>
        <a:buFont typeface="Wingdings 2" panose="05020102010507070707" pitchFamily="18" charset="2"/>
        <a:buChar char=""/>
        <a:defRPr sz="1800" kern="1200">
          <a:solidFill>
            <a:schemeClr val="tx1"/>
          </a:solidFill>
          <a:latin typeface="Poppins Light" panose="02000000000000000000" pitchFamily="2" charset="0"/>
          <a:ea typeface="+mn-ea"/>
          <a:cs typeface="Poppins Light" panose="02000000000000000000" pitchFamily="2" charset="0"/>
        </a:defRPr>
      </a:lvl4pPr>
      <a:lvl5pPr marL="1350963" indent="-293688" algn="l" defTabSz="914400" rtl="0" eaLnBrk="1" latinLnBrk="0" hangingPunct="1">
        <a:lnSpc>
          <a:spcPct val="125000"/>
        </a:lnSpc>
        <a:spcBef>
          <a:spcPts val="500"/>
        </a:spcBef>
        <a:buFont typeface="Wingdings 2" panose="05020102010507070707" pitchFamily="18" charset="2"/>
        <a:buChar char=""/>
        <a:defRPr sz="1800" kern="1200">
          <a:solidFill>
            <a:schemeClr val="tx1"/>
          </a:solidFill>
          <a:latin typeface="Poppins Light" panose="02000000000000000000" pitchFamily="2" charset="0"/>
          <a:ea typeface="+mn-ea"/>
          <a:cs typeface="Poppins Light"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4">
          <p15:clr>
            <a:srgbClr val="F26B43"/>
          </p15:clr>
        </p15:guide>
        <p15:guide id="2" orient="horz" pos="1162">
          <p15:clr>
            <a:srgbClr val="F26B43"/>
          </p15:clr>
        </p15:guide>
        <p15:guide id="3" orient="horz" pos="440">
          <p15:clr>
            <a:srgbClr val="F26B43"/>
          </p15:clr>
        </p15:guide>
        <p15:guide id="4" pos="738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6.png"/><Relationship Id="rId3" Type="http://schemas.openxmlformats.org/officeDocument/2006/relationships/image" Target="../media/image49.png"/><Relationship Id="rId7" Type="http://schemas.openxmlformats.org/officeDocument/2006/relationships/image" Target="../media/image51.png"/><Relationship Id="rId12" Type="http://schemas.openxmlformats.org/officeDocument/2006/relationships/image" Target="../media/image55.png"/><Relationship Id="rId2" Type="http://schemas.openxmlformats.org/officeDocument/2006/relationships/hyperlink" Target="https://assets.publishing.service.gov.uk/government/uploads/system/uploads/attachment_data/file/1008833/IUK-050821-4293_Innovate_Future_Transport_A4Portrait.pdf" TargetMode="External"/><Relationship Id="rId1" Type="http://schemas.openxmlformats.org/officeDocument/2006/relationships/slideLayout" Target="../slideLayouts/slideLayout24.xml"/><Relationship Id="rId6" Type="http://schemas.openxmlformats.org/officeDocument/2006/relationships/hyperlink" Target="https://assets.publishing.service.gov.uk/government/uploads/system/uploads/attachment_data/file/980227/DfT-Bus-Back-Better-national-bus-strategy-for-England.pdf" TargetMode="External"/><Relationship Id="rId11" Type="http://schemas.openxmlformats.org/officeDocument/2006/relationships/hyperlink" Target="https://assets.publishing.service.gov.uk/government/uploads/system/uploads/attachment_data/file/1005301/transitioning-to-zero-emission-cars-vans-2035-delivery-plan.pdf" TargetMode="External"/><Relationship Id="rId5" Type="http://schemas.openxmlformats.org/officeDocument/2006/relationships/image" Target="../media/image50.png"/><Relationship Id="rId15" Type="http://schemas.openxmlformats.org/officeDocument/2006/relationships/image" Target="../media/image58.png"/><Relationship Id="rId10" Type="http://schemas.openxmlformats.org/officeDocument/2006/relationships/image" Target="../media/image54.png"/><Relationship Id="rId4" Type="http://schemas.openxmlformats.org/officeDocument/2006/relationships/hyperlink" Target="https://assets.publishing.service.gov.uk/government/uploads/system/uploads/attachment_data/file/1001439/decarbonising-uk-transport-final-report-and-technology-roadmaps.pdf" TargetMode="External"/><Relationship Id="rId9" Type="http://schemas.openxmlformats.org/officeDocument/2006/relationships/image" Target="../media/image53.png"/><Relationship Id="rId14" Type="http://schemas.openxmlformats.org/officeDocument/2006/relationships/image" Target="../media/image57.png"/></Relationships>
</file>

<file path=ppt/slides/_rels/slide1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24.xml"/><Relationship Id="rId4" Type="http://schemas.openxmlformats.org/officeDocument/2006/relationships/image" Target="../media/image61.png"/></Relationships>
</file>

<file path=ppt/slides/_rels/slide1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4.xml"/></Relationships>
</file>

<file path=ppt/slides/_rels/slide1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54.xml"/><Relationship Id="rId4" Type="http://schemas.openxmlformats.org/officeDocument/2006/relationships/image" Target="../media/image64.png"/></Relationships>
</file>

<file path=ppt/slides/_rels/slide1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54.xml"/></Relationships>
</file>

<file path=ppt/slides/_rels/slide1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54.xml"/><Relationship Id="rId4" Type="http://schemas.openxmlformats.org/officeDocument/2006/relationships/image" Target="../media/image64.png"/></Relationships>
</file>

<file path=ppt/slides/_rels/slide19.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xml"/><Relationship Id="rId1" Type="http://schemas.openxmlformats.org/officeDocument/2006/relationships/slideLayout" Target="../slideLayouts/slideLayout9.xml"/><Relationship Id="rId5" Type="http://schemas.openxmlformats.org/officeDocument/2006/relationships/image" Target="../media/image68.png"/><Relationship Id="rId4" Type="http://schemas.openxmlformats.org/officeDocument/2006/relationships/image" Target="../media/image67.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tags" Target="../tags/tag2.xml"/><Relationship Id="rId6" Type="http://schemas.openxmlformats.org/officeDocument/2006/relationships/image" Target="../media/image71.jpeg"/><Relationship Id="rId5" Type="http://schemas.openxmlformats.org/officeDocument/2006/relationships/image" Target="../media/image70.jpeg"/><Relationship Id="rId4" Type="http://schemas.openxmlformats.org/officeDocument/2006/relationships/image" Target="../media/image69.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75.jpeg"/><Relationship Id="rId2"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image" Target="../media/image74.jpeg"/><Relationship Id="rId5" Type="http://schemas.openxmlformats.org/officeDocument/2006/relationships/image" Target="../media/image73.png"/><Relationship Id="rId4" Type="http://schemas.openxmlformats.org/officeDocument/2006/relationships/image" Target="../media/image72.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xml"/><Relationship Id="rId1" Type="http://schemas.openxmlformats.org/officeDocument/2006/relationships/tags" Target="../tags/tag4.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78.png"/><Relationship Id="rId2" Type="http://schemas.openxmlformats.org/officeDocument/2006/relationships/slideLayout" Target="../slideLayouts/slideLayout8.xml"/><Relationship Id="rId1" Type="http://schemas.openxmlformats.org/officeDocument/2006/relationships/tags" Target="../tags/tag5.xml"/><Relationship Id="rId6" Type="http://schemas.openxmlformats.org/officeDocument/2006/relationships/image" Target="../media/image75.jpeg"/><Relationship Id="rId5" Type="http://schemas.openxmlformats.org/officeDocument/2006/relationships/image" Target="../media/image77.jpeg"/><Relationship Id="rId4" Type="http://schemas.openxmlformats.org/officeDocument/2006/relationships/image" Target="../media/image76.png"/></Relationships>
</file>

<file path=ppt/slides/_rels/slide2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7.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s/_rels/slide30.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hyperlink" Target="http://www.logistics.org.uk/environment"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90.png"/></Relationships>
</file>

<file path=ppt/slides/_rels/slide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hyperlink" Target="https://logistics.org.uk/environment/netzero" TargetMode="External"/><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s>
</file>

<file path=ppt/slides/_rels/slide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30.png"/><Relationship Id="rId1" Type="http://schemas.openxmlformats.org/officeDocument/2006/relationships/slideLayout" Target="../slideLayouts/slideLayout7.xml"/><Relationship Id="rId4" Type="http://schemas.openxmlformats.org/officeDocument/2006/relationships/image" Target="../media/image43.png"/></Relationships>
</file>

<file path=ppt/slides/_rels/slide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9DD304A-61F3-4DB2-88C2-3E8F8A09C34E}"/>
              </a:ext>
            </a:extLst>
          </p:cNvPr>
          <p:cNvSpPr>
            <a:spLocks noGrp="1"/>
          </p:cNvSpPr>
          <p:nvPr>
            <p:ph idx="1"/>
          </p:nvPr>
        </p:nvSpPr>
        <p:spPr>
          <a:xfrm>
            <a:off x="719399" y="1473352"/>
            <a:ext cx="11028463" cy="2536586"/>
          </a:xfrm>
        </p:spPr>
        <p:txBody>
          <a:bodyPr vert="horz" lIns="0" tIns="0" rIns="0" bIns="0" rtlCol="0" anchor="t">
            <a:noAutofit/>
          </a:bodyPr>
          <a:lstStyle/>
          <a:p>
            <a:pPr marL="342900" indent="-342900">
              <a:buChar char="•"/>
            </a:pPr>
            <a:endParaRPr lang="en-GB">
              <a:cs typeface="Arial"/>
            </a:endParaRPr>
          </a:p>
          <a:p>
            <a:pPr marL="342900" indent="-342900">
              <a:buChar char="•"/>
            </a:pPr>
            <a:endParaRPr lang="en-GB"/>
          </a:p>
        </p:txBody>
      </p:sp>
      <p:pic>
        <p:nvPicPr>
          <p:cNvPr id="11" name="Picture 10" descr="A city at night&#10;&#10;Description automatically generated with low confidence">
            <a:extLst>
              <a:ext uri="{FF2B5EF4-FFF2-40B4-BE49-F238E27FC236}">
                <a16:creationId xmlns:a16="http://schemas.microsoft.com/office/drawing/2014/main" id="{B5D5EC74-12E5-4EDA-9021-8FED4B8407D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80" y="-9522"/>
            <a:ext cx="12192000" cy="6869017"/>
          </a:xfrm>
          <a:prstGeom prst="rect">
            <a:avLst/>
          </a:prstGeom>
        </p:spPr>
      </p:pic>
      <p:sp>
        <p:nvSpPr>
          <p:cNvPr id="13" name="TextBox 12">
            <a:extLst>
              <a:ext uri="{FF2B5EF4-FFF2-40B4-BE49-F238E27FC236}">
                <a16:creationId xmlns:a16="http://schemas.microsoft.com/office/drawing/2014/main" id="{EA0F2A5C-26AB-4B45-8E14-FFC3F025F66E}"/>
              </a:ext>
            </a:extLst>
          </p:cNvPr>
          <p:cNvSpPr txBox="1"/>
          <p:nvPr/>
        </p:nvSpPr>
        <p:spPr>
          <a:xfrm>
            <a:off x="2080005" y="405830"/>
            <a:ext cx="8025830" cy="263149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5500">
                <a:solidFill>
                  <a:srgbClr val="FFFFFF"/>
                </a:solidFill>
              </a:rPr>
              <a:t>Logistics UK’s ‘Route to Net Zero’ webinar</a:t>
            </a:r>
            <a:r>
              <a:rPr lang="en-GB" sz="5500">
                <a:cs typeface="Arial"/>
              </a:rPr>
              <a:t>​</a:t>
            </a:r>
            <a:br>
              <a:rPr lang="en-GB" sz="5500">
                <a:cs typeface="Arial"/>
              </a:rPr>
            </a:br>
            <a:endParaRPr lang="en-GB" sz="5500"/>
          </a:p>
        </p:txBody>
      </p:sp>
      <p:sp>
        <p:nvSpPr>
          <p:cNvPr id="7" name="Subtitle 2">
            <a:extLst>
              <a:ext uri="{FF2B5EF4-FFF2-40B4-BE49-F238E27FC236}">
                <a16:creationId xmlns:a16="http://schemas.microsoft.com/office/drawing/2014/main" id="{928069C5-18E3-40CA-9FF3-46E58CDDB1E8}"/>
              </a:ext>
            </a:extLst>
          </p:cNvPr>
          <p:cNvSpPr txBox="1">
            <a:spLocks/>
          </p:cNvSpPr>
          <p:nvPr/>
        </p:nvSpPr>
        <p:spPr>
          <a:xfrm>
            <a:off x="3322430" y="2403091"/>
            <a:ext cx="6206400" cy="338554"/>
          </a:xfrm>
          <a:prstGeom prst="rect">
            <a:avLst/>
          </a:prstGeom>
        </p:spPr>
        <p:txBody>
          <a:bodyPr vert="horz" lIns="0" tIns="0" rIns="0" bIns="0" rtlCol="0">
            <a:spAutoFit/>
          </a:bodyPr>
          <a:lstStyle>
            <a:lvl1pPr marL="0" indent="0" algn="l" defTabSz="914400" rtl="0" eaLnBrk="1" latinLnBrk="0" hangingPunct="1">
              <a:lnSpc>
                <a:spcPct val="100000"/>
              </a:lnSpc>
              <a:spcBef>
                <a:spcPts val="0"/>
              </a:spcBef>
              <a:buFont typeface="Arial" panose="020B0604020202020204" pitchFamily="34" charset="0"/>
              <a:buNone/>
              <a:defRPr sz="1400" kern="1200">
                <a:solidFill>
                  <a:schemeClr val="bg1"/>
                </a:solidFill>
                <a:latin typeface="+mn-lt"/>
                <a:ea typeface="+mn-ea"/>
                <a:cs typeface="+mn-cs"/>
              </a:defRPr>
            </a:lvl1pPr>
            <a:lvl2pPr marL="457200" indent="0" algn="ctr" defTabSz="914400" rtl="0" eaLnBrk="1" latinLnBrk="0" hangingPunct="1">
              <a:lnSpc>
                <a:spcPct val="100000"/>
              </a:lnSpc>
              <a:spcBef>
                <a:spcPts val="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buFont typeface="Overpass Light" panose="00000400000000000000" pitchFamily="2"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buFont typeface="+mj-lt"/>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buFont typeface="+mj-lt"/>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2200"/>
              <a:t>10 November 2021: COP26 Transport Day </a:t>
            </a:r>
          </a:p>
        </p:txBody>
      </p:sp>
    </p:spTree>
    <p:extLst>
      <p:ext uri="{BB962C8B-B14F-4D97-AF65-F5344CB8AC3E}">
        <p14:creationId xmlns:p14="http://schemas.microsoft.com/office/powerpoint/2010/main" val="3997802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8238391-8CD2-4A85-81D8-6AA95D934449}"/>
              </a:ext>
            </a:extLst>
          </p:cNvPr>
          <p:cNvSpPr>
            <a:spLocks noGrp="1"/>
          </p:cNvSpPr>
          <p:nvPr>
            <p:ph type="body" sz="quarter" idx="11"/>
          </p:nvPr>
        </p:nvSpPr>
        <p:spPr>
          <a:xfrm>
            <a:off x="466724" y="2577419"/>
            <a:ext cx="6897113" cy="947738"/>
          </a:xfrm>
        </p:spPr>
        <p:txBody>
          <a:bodyPr/>
          <a:lstStyle/>
          <a:p>
            <a:r>
              <a:rPr lang="en-GB" dirty="0"/>
              <a:t>Collaboration and the power of Partnership on The Route to Net Zero</a:t>
            </a:r>
          </a:p>
        </p:txBody>
      </p:sp>
      <p:sp>
        <p:nvSpPr>
          <p:cNvPr id="4" name="Text Placeholder 3">
            <a:extLst>
              <a:ext uri="{FF2B5EF4-FFF2-40B4-BE49-F238E27FC236}">
                <a16:creationId xmlns:a16="http://schemas.microsoft.com/office/drawing/2014/main" id="{00F5523A-D659-4D7F-B0C1-5C6BCBCD24C5}"/>
              </a:ext>
            </a:extLst>
          </p:cNvPr>
          <p:cNvSpPr>
            <a:spLocks noGrp="1"/>
          </p:cNvSpPr>
          <p:nvPr>
            <p:ph type="body" sz="quarter" idx="12"/>
          </p:nvPr>
        </p:nvSpPr>
        <p:spPr/>
        <p:txBody>
          <a:bodyPr/>
          <a:lstStyle/>
          <a:p>
            <a:r>
              <a:rPr lang="en-GB" dirty="0"/>
              <a:t>Andy Eastlake  - CEO, Zemo Partnership</a:t>
            </a:r>
          </a:p>
          <a:p>
            <a:endParaRPr lang="en-GB" dirty="0"/>
          </a:p>
        </p:txBody>
      </p:sp>
    </p:spTree>
    <p:extLst>
      <p:ext uri="{BB962C8B-B14F-4D97-AF65-F5344CB8AC3E}">
        <p14:creationId xmlns:p14="http://schemas.microsoft.com/office/powerpoint/2010/main" val="2316125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B9003F-A8CD-492D-9F29-E4E824174019}"/>
              </a:ext>
            </a:extLst>
          </p:cNvPr>
          <p:cNvSpPr>
            <a:spLocks noGrp="1"/>
          </p:cNvSpPr>
          <p:nvPr>
            <p:ph type="title"/>
          </p:nvPr>
        </p:nvSpPr>
        <p:spPr/>
        <p:txBody>
          <a:bodyPr/>
          <a:lstStyle/>
          <a:p>
            <a:r>
              <a:rPr lang="en-GB" dirty="0"/>
              <a:t>Zemo Partnership working with Logistics UK</a:t>
            </a:r>
          </a:p>
        </p:txBody>
      </p:sp>
      <p:sp>
        <p:nvSpPr>
          <p:cNvPr id="3" name="Text Placeholder 2">
            <a:extLst>
              <a:ext uri="{FF2B5EF4-FFF2-40B4-BE49-F238E27FC236}">
                <a16:creationId xmlns:a16="http://schemas.microsoft.com/office/drawing/2014/main" id="{F96F233D-5D5E-46CC-BCE5-43DB5F2552C5}"/>
              </a:ext>
            </a:extLst>
          </p:cNvPr>
          <p:cNvSpPr>
            <a:spLocks noGrp="1"/>
          </p:cNvSpPr>
          <p:nvPr>
            <p:ph type="body" sz="quarter" idx="12"/>
          </p:nvPr>
        </p:nvSpPr>
        <p:spPr>
          <a:xfrm>
            <a:off x="463809" y="903073"/>
            <a:ext cx="5331301" cy="5774564"/>
          </a:xfrm>
        </p:spPr>
        <p:txBody>
          <a:bodyPr/>
          <a:lstStyle/>
          <a:p>
            <a:r>
              <a:rPr lang="en-GB" dirty="0"/>
              <a:t>Previously LowCVP (2003-2021).</a:t>
            </a:r>
          </a:p>
          <a:p>
            <a:r>
              <a:rPr lang="en-US" sz="2000" dirty="0"/>
              <a:t>An independent, non-profit partnership that brings together government, industry and a wide range of expert stakeholders in the field of low and zero-emission mobility.</a:t>
            </a:r>
          </a:p>
          <a:p>
            <a:endParaRPr lang="en-US" dirty="0"/>
          </a:p>
          <a:p>
            <a:r>
              <a:rPr lang="en-GB" sz="2000" dirty="0"/>
              <a:t>The Partnership plays a key role in helping the UK Government to deliver its zero carbon transport strategy, with the objective of ensuring that the UK takes a leading role in the global shift towards clean, low &amp; zero carbon transport.</a:t>
            </a:r>
          </a:p>
          <a:p>
            <a:endParaRPr lang="en-GB" dirty="0"/>
          </a:p>
        </p:txBody>
      </p:sp>
      <p:grpSp>
        <p:nvGrpSpPr>
          <p:cNvPr id="13" name="Group 12">
            <a:extLst>
              <a:ext uri="{FF2B5EF4-FFF2-40B4-BE49-F238E27FC236}">
                <a16:creationId xmlns:a16="http://schemas.microsoft.com/office/drawing/2014/main" id="{C0B4260F-5499-407E-B104-32138A01F597}"/>
              </a:ext>
            </a:extLst>
          </p:cNvPr>
          <p:cNvGrpSpPr/>
          <p:nvPr/>
        </p:nvGrpSpPr>
        <p:grpSpPr>
          <a:xfrm>
            <a:off x="5478454" y="1334163"/>
            <a:ext cx="6578860" cy="4620764"/>
            <a:chOff x="2116713" y="2104184"/>
            <a:chExt cx="6455381" cy="4320000"/>
          </a:xfrm>
        </p:grpSpPr>
        <p:grpSp>
          <p:nvGrpSpPr>
            <p:cNvPr id="14" name="Group 13">
              <a:extLst>
                <a:ext uri="{FF2B5EF4-FFF2-40B4-BE49-F238E27FC236}">
                  <a16:creationId xmlns:a16="http://schemas.microsoft.com/office/drawing/2014/main" id="{31718561-0035-4E16-96CC-3D6052A81626}"/>
                </a:ext>
              </a:extLst>
            </p:cNvPr>
            <p:cNvGrpSpPr>
              <a:grpSpLocks noChangeAspect="1"/>
            </p:cNvGrpSpPr>
            <p:nvPr/>
          </p:nvGrpSpPr>
          <p:grpSpPr>
            <a:xfrm>
              <a:off x="2443750" y="2104184"/>
              <a:ext cx="5842693" cy="4320000"/>
              <a:chOff x="3337264" y="1878234"/>
              <a:chExt cx="5098447" cy="3769718"/>
            </a:xfrm>
          </p:grpSpPr>
          <p:sp>
            <p:nvSpPr>
              <p:cNvPr id="17" name="Arc 16">
                <a:extLst>
                  <a:ext uri="{FF2B5EF4-FFF2-40B4-BE49-F238E27FC236}">
                    <a16:creationId xmlns:a16="http://schemas.microsoft.com/office/drawing/2014/main" id="{076902C7-9503-4B87-8D6E-D49CE52A709F}"/>
                  </a:ext>
                </a:extLst>
              </p:cNvPr>
              <p:cNvSpPr/>
              <p:nvPr/>
            </p:nvSpPr>
            <p:spPr>
              <a:xfrm>
                <a:off x="4229101" y="2144983"/>
                <a:ext cx="3246120" cy="3246120"/>
              </a:xfrm>
              <a:prstGeom prst="arc">
                <a:avLst>
                  <a:gd name="adj1" fmla="val 17932644"/>
                  <a:gd name="adj2" fmla="val 14414781"/>
                </a:avLst>
              </a:prstGeom>
              <a:ln w="762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1A70"/>
                  </a:solidFill>
                  <a:effectLst/>
                  <a:uLnTx/>
                  <a:uFillTx/>
                  <a:latin typeface="Poppins Light"/>
                  <a:ea typeface="+mn-ea"/>
                  <a:cs typeface="+mn-cs"/>
                </a:endParaRPr>
              </a:p>
            </p:txBody>
          </p:sp>
          <p:sp>
            <p:nvSpPr>
              <p:cNvPr id="18" name="Rectangle: Rounded Corners 17">
                <a:extLst>
                  <a:ext uri="{FF2B5EF4-FFF2-40B4-BE49-F238E27FC236}">
                    <a16:creationId xmlns:a16="http://schemas.microsoft.com/office/drawing/2014/main" id="{E6C23803-D789-4EF2-9017-FD3AF42962E4}"/>
                  </a:ext>
                </a:extLst>
              </p:cNvPr>
              <p:cNvSpPr/>
              <p:nvPr/>
            </p:nvSpPr>
            <p:spPr>
              <a:xfrm>
                <a:off x="4971456" y="1878234"/>
                <a:ext cx="1783674" cy="546458"/>
              </a:xfrm>
              <a:prstGeom prst="roundRect">
                <a:avLst>
                  <a:gd name="adj" fmla="val 50000"/>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5400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A70"/>
                    </a:solidFill>
                    <a:effectLst/>
                    <a:uLnTx/>
                    <a:uFillTx/>
                    <a:latin typeface="Poppins Medium" panose="02000000000000000000" pitchFamily="2" charset="0"/>
                    <a:ea typeface="+mn-ea"/>
                    <a:cs typeface="Poppins Medium" panose="02000000000000000000" pitchFamily="2" charset="0"/>
                  </a:rPr>
                  <a:t>Government &amp;</a:t>
                </a:r>
                <a:br>
                  <a:rPr kumimoji="0" lang="en-GB" sz="1200" b="0" i="0" u="none" strike="noStrike" kern="1200" cap="none" spc="0" normalizeH="0" baseline="0" noProof="0" dirty="0">
                    <a:ln>
                      <a:noFill/>
                    </a:ln>
                    <a:solidFill>
                      <a:srgbClr val="001A70"/>
                    </a:solidFill>
                    <a:effectLst/>
                    <a:uLnTx/>
                    <a:uFillTx/>
                    <a:latin typeface="Poppins Medium" panose="02000000000000000000" pitchFamily="2" charset="0"/>
                    <a:ea typeface="+mn-ea"/>
                    <a:cs typeface="Poppins Medium" panose="02000000000000000000" pitchFamily="2" charset="0"/>
                  </a:rPr>
                </a:br>
                <a:r>
                  <a:rPr kumimoji="0" lang="en-GB" sz="1200" b="0" i="0" u="none" strike="noStrike" kern="1200" cap="none" spc="0" normalizeH="0" baseline="0" noProof="0" dirty="0">
                    <a:ln>
                      <a:noFill/>
                    </a:ln>
                    <a:solidFill>
                      <a:srgbClr val="001A70"/>
                    </a:solidFill>
                    <a:effectLst/>
                    <a:uLnTx/>
                    <a:uFillTx/>
                    <a:latin typeface="Poppins Medium" panose="02000000000000000000" pitchFamily="2" charset="0"/>
                    <a:ea typeface="+mn-ea"/>
                    <a:cs typeface="Poppins Medium" panose="02000000000000000000" pitchFamily="2" charset="0"/>
                  </a:rPr>
                  <a:t>Public Bodies</a:t>
                </a:r>
              </a:p>
            </p:txBody>
          </p:sp>
          <p:sp>
            <p:nvSpPr>
              <p:cNvPr id="19" name="Rectangle: Rounded Corners 18">
                <a:extLst>
                  <a:ext uri="{FF2B5EF4-FFF2-40B4-BE49-F238E27FC236}">
                    <a16:creationId xmlns:a16="http://schemas.microsoft.com/office/drawing/2014/main" id="{A5AC8754-260F-4B2E-B815-E73B569F30F8}"/>
                  </a:ext>
                </a:extLst>
              </p:cNvPr>
              <p:cNvSpPr/>
              <p:nvPr/>
            </p:nvSpPr>
            <p:spPr>
              <a:xfrm>
                <a:off x="3337264" y="2631493"/>
                <a:ext cx="1783674" cy="546458"/>
              </a:xfrm>
              <a:prstGeom prst="roundRect">
                <a:avLst>
                  <a:gd name="adj" fmla="val 50000"/>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5400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A70"/>
                    </a:solidFill>
                    <a:effectLst/>
                    <a:uLnTx/>
                    <a:uFillTx/>
                    <a:latin typeface="Poppins Medium" panose="02000000000000000000" pitchFamily="2" charset="0"/>
                    <a:ea typeface="+mn-ea"/>
                    <a:cs typeface="Poppins Medium" panose="02000000000000000000" pitchFamily="2" charset="0"/>
                  </a:rPr>
                  <a:t>Environmental</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A70"/>
                    </a:solidFill>
                    <a:effectLst/>
                    <a:uLnTx/>
                    <a:uFillTx/>
                    <a:latin typeface="Poppins Medium" panose="02000000000000000000" pitchFamily="2" charset="0"/>
                    <a:ea typeface="+mn-ea"/>
                    <a:cs typeface="Poppins Medium" panose="02000000000000000000" pitchFamily="2" charset="0"/>
                  </a:rPr>
                  <a:t>&amp; Academia</a:t>
                </a:r>
              </a:p>
            </p:txBody>
          </p:sp>
          <p:sp>
            <p:nvSpPr>
              <p:cNvPr id="20" name="Rectangle: Rounded Corners 19">
                <a:extLst>
                  <a:ext uri="{FF2B5EF4-FFF2-40B4-BE49-F238E27FC236}">
                    <a16:creationId xmlns:a16="http://schemas.microsoft.com/office/drawing/2014/main" id="{1F7042F3-0EBE-4E46-A392-2DB08558059A}"/>
                  </a:ext>
                </a:extLst>
              </p:cNvPr>
              <p:cNvSpPr/>
              <p:nvPr/>
            </p:nvSpPr>
            <p:spPr>
              <a:xfrm>
                <a:off x="6652037" y="2631492"/>
                <a:ext cx="1783674" cy="546458"/>
              </a:xfrm>
              <a:prstGeom prst="roundRect">
                <a:avLst>
                  <a:gd name="adj" fmla="val 50000"/>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5400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A70"/>
                    </a:solidFill>
                    <a:effectLst/>
                    <a:uLnTx/>
                    <a:uFillTx/>
                    <a:latin typeface="Poppins Medium" panose="02000000000000000000" pitchFamily="2" charset="0"/>
                    <a:ea typeface="+mn-ea"/>
                    <a:cs typeface="Poppins Medium" panose="02000000000000000000" pitchFamily="2" charset="0"/>
                  </a:rPr>
                  <a:t>Fuel Suppliers</a:t>
                </a:r>
              </a:p>
            </p:txBody>
          </p:sp>
          <p:sp>
            <p:nvSpPr>
              <p:cNvPr id="21" name="Rectangle: Rounded Corners 20">
                <a:extLst>
                  <a:ext uri="{FF2B5EF4-FFF2-40B4-BE49-F238E27FC236}">
                    <a16:creationId xmlns:a16="http://schemas.microsoft.com/office/drawing/2014/main" id="{5759A03C-0825-416D-B838-02A5C5B0E71D}"/>
                  </a:ext>
                </a:extLst>
              </p:cNvPr>
              <p:cNvSpPr/>
              <p:nvPr/>
            </p:nvSpPr>
            <p:spPr>
              <a:xfrm>
                <a:off x="3337264" y="4421661"/>
                <a:ext cx="1783674" cy="546458"/>
              </a:xfrm>
              <a:prstGeom prst="roundRect">
                <a:avLst>
                  <a:gd name="adj" fmla="val 50000"/>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5400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A70"/>
                    </a:solidFill>
                    <a:effectLst/>
                    <a:uLnTx/>
                    <a:uFillTx/>
                    <a:latin typeface="Poppins Medium" panose="02000000000000000000" pitchFamily="2" charset="0"/>
                    <a:ea typeface="+mn-ea"/>
                    <a:cs typeface="Poppins Medium" panose="02000000000000000000" pitchFamily="2" charset="0"/>
                  </a:rPr>
                  <a:t>Fleet Operators</a:t>
                </a:r>
              </a:p>
            </p:txBody>
          </p:sp>
          <p:sp>
            <p:nvSpPr>
              <p:cNvPr id="22" name="Rectangle: Rounded Corners 21">
                <a:extLst>
                  <a:ext uri="{FF2B5EF4-FFF2-40B4-BE49-F238E27FC236}">
                    <a16:creationId xmlns:a16="http://schemas.microsoft.com/office/drawing/2014/main" id="{4787269C-D155-4007-924E-4E35BF8DCC84}"/>
                  </a:ext>
                </a:extLst>
              </p:cNvPr>
              <p:cNvSpPr/>
              <p:nvPr/>
            </p:nvSpPr>
            <p:spPr>
              <a:xfrm>
                <a:off x="6614705" y="4421660"/>
                <a:ext cx="1783674" cy="546458"/>
              </a:xfrm>
              <a:prstGeom prst="roundRect">
                <a:avLst>
                  <a:gd name="adj" fmla="val 50000"/>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5400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A70"/>
                    </a:solidFill>
                    <a:effectLst/>
                    <a:uLnTx/>
                    <a:uFillTx/>
                    <a:latin typeface="Poppins Medium" panose="02000000000000000000" pitchFamily="2" charset="0"/>
                    <a:ea typeface="+mn-ea"/>
                    <a:cs typeface="Poppins Medium" panose="02000000000000000000" pitchFamily="2" charset="0"/>
                  </a:rPr>
                  <a:t>Technology</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A70"/>
                    </a:solidFill>
                    <a:effectLst/>
                    <a:uLnTx/>
                    <a:uFillTx/>
                    <a:latin typeface="Poppins Medium" panose="02000000000000000000" pitchFamily="2" charset="0"/>
                    <a:ea typeface="+mn-ea"/>
                    <a:cs typeface="Poppins Medium" panose="02000000000000000000" pitchFamily="2" charset="0"/>
                  </a:rPr>
                  <a:t>Suppliers</a:t>
                </a:r>
              </a:p>
            </p:txBody>
          </p:sp>
          <p:sp>
            <p:nvSpPr>
              <p:cNvPr id="23" name="Rectangle: Rounded Corners 22">
                <a:extLst>
                  <a:ext uri="{FF2B5EF4-FFF2-40B4-BE49-F238E27FC236}">
                    <a16:creationId xmlns:a16="http://schemas.microsoft.com/office/drawing/2014/main" id="{E9727F20-BE7E-4631-9A7D-5E422ED7BA7B}"/>
                  </a:ext>
                </a:extLst>
              </p:cNvPr>
              <p:cNvSpPr/>
              <p:nvPr/>
            </p:nvSpPr>
            <p:spPr>
              <a:xfrm>
                <a:off x="4971456" y="5101494"/>
                <a:ext cx="1783674" cy="546458"/>
              </a:xfrm>
              <a:prstGeom prst="roundRect">
                <a:avLst>
                  <a:gd name="adj" fmla="val 50000"/>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5400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A70"/>
                    </a:solidFill>
                    <a:effectLst/>
                    <a:uLnTx/>
                    <a:uFillTx/>
                    <a:latin typeface="Poppins Medium" panose="02000000000000000000" pitchFamily="2" charset="0"/>
                    <a:ea typeface="+mn-ea"/>
                    <a:cs typeface="Poppins Medium" panose="02000000000000000000" pitchFamily="2" charset="0"/>
                  </a:rPr>
                  <a:t>Automotiv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A70"/>
                    </a:solidFill>
                    <a:effectLst/>
                    <a:uLnTx/>
                    <a:uFillTx/>
                    <a:latin typeface="Poppins Medium" panose="02000000000000000000" pitchFamily="2" charset="0"/>
                    <a:ea typeface="+mn-ea"/>
                    <a:cs typeface="Poppins Medium" panose="02000000000000000000" pitchFamily="2" charset="0"/>
                  </a:rPr>
                  <a:t>Manufacturers</a:t>
                </a:r>
              </a:p>
            </p:txBody>
          </p:sp>
          <p:pic>
            <p:nvPicPr>
              <p:cNvPr id="24" name="Content Placeholder 22">
                <a:extLst>
                  <a:ext uri="{FF2B5EF4-FFF2-40B4-BE49-F238E27FC236}">
                    <a16:creationId xmlns:a16="http://schemas.microsoft.com/office/drawing/2014/main" id="{11DF2AB4-7D96-45E2-8196-CA6922C2E66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841092" y="2725945"/>
                <a:ext cx="2090792" cy="2060176"/>
              </a:xfrm>
              <a:prstGeom prst="rect">
                <a:avLst/>
              </a:prstGeom>
            </p:spPr>
          </p:pic>
        </p:grpSp>
        <p:sp>
          <p:nvSpPr>
            <p:cNvPr id="15" name="Rectangle: Rounded Corners 14">
              <a:extLst>
                <a:ext uri="{FF2B5EF4-FFF2-40B4-BE49-F238E27FC236}">
                  <a16:creationId xmlns:a16="http://schemas.microsoft.com/office/drawing/2014/main" id="{097C5B3D-D75F-49C9-B85B-6D6727A63CBF}"/>
                </a:ext>
              </a:extLst>
            </p:cNvPr>
            <p:cNvSpPr/>
            <p:nvPr/>
          </p:nvSpPr>
          <p:spPr>
            <a:xfrm>
              <a:off x="2116713" y="3956743"/>
              <a:ext cx="2044046" cy="626227"/>
            </a:xfrm>
            <a:prstGeom prst="roundRect">
              <a:avLst>
                <a:gd name="adj" fmla="val 50000"/>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5400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A70"/>
                  </a:solidFill>
                  <a:effectLst/>
                  <a:uLnTx/>
                  <a:uFillTx/>
                  <a:latin typeface="Poppins Medium" panose="02000000000000000000" pitchFamily="2" charset="0"/>
                  <a:ea typeface="+mn-ea"/>
                  <a:cs typeface="Poppins Medium" panose="02000000000000000000" pitchFamily="2" charset="0"/>
                </a:rPr>
                <a:t>Finance &amp; Leasing</a:t>
              </a:r>
            </a:p>
          </p:txBody>
        </p:sp>
        <p:sp>
          <p:nvSpPr>
            <p:cNvPr id="16" name="Rectangle: Rounded Corners 15">
              <a:extLst>
                <a:ext uri="{FF2B5EF4-FFF2-40B4-BE49-F238E27FC236}">
                  <a16:creationId xmlns:a16="http://schemas.microsoft.com/office/drawing/2014/main" id="{57C3A191-8601-4A12-9A8E-C19228B22854}"/>
                </a:ext>
              </a:extLst>
            </p:cNvPr>
            <p:cNvSpPr/>
            <p:nvPr/>
          </p:nvSpPr>
          <p:spPr>
            <a:xfrm>
              <a:off x="6528048" y="4005064"/>
              <a:ext cx="2044046" cy="626227"/>
            </a:xfrm>
            <a:prstGeom prst="roundRect">
              <a:avLst>
                <a:gd name="adj" fmla="val 50000"/>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5400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A70"/>
                  </a:solidFill>
                  <a:effectLst/>
                  <a:uLnTx/>
                  <a:uFillTx/>
                  <a:latin typeface="Poppins Medium" panose="02000000000000000000" pitchFamily="2" charset="0"/>
                  <a:ea typeface="+mn-ea"/>
                  <a:cs typeface="Poppins Medium" panose="02000000000000000000" pitchFamily="2" charset="0"/>
                </a:rPr>
                <a:t>Energy Infrastructure</a:t>
              </a:r>
            </a:p>
          </p:txBody>
        </p:sp>
      </p:grpSp>
    </p:spTree>
    <p:extLst>
      <p:ext uri="{BB962C8B-B14F-4D97-AF65-F5344CB8AC3E}">
        <p14:creationId xmlns:p14="http://schemas.microsoft.com/office/powerpoint/2010/main" val="8313694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BF7494-03B2-4C6D-B669-4F3138C66C05}"/>
              </a:ext>
            </a:extLst>
          </p:cNvPr>
          <p:cNvSpPr>
            <a:spLocks noGrp="1"/>
          </p:cNvSpPr>
          <p:nvPr>
            <p:ph type="title"/>
          </p:nvPr>
        </p:nvSpPr>
        <p:spPr/>
        <p:txBody>
          <a:bodyPr/>
          <a:lstStyle/>
          <a:p>
            <a:r>
              <a:rPr lang="en-GB" dirty="0"/>
              <a:t>Scale of the challenge</a:t>
            </a:r>
          </a:p>
        </p:txBody>
      </p:sp>
      <p:sp>
        <p:nvSpPr>
          <p:cNvPr id="5" name="Text Placeholder 4">
            <a:extLst>
              <a:ext uri="{FF2B5EF4-FFF2-40B4-BE49-F238E27FC236}">
                <a16:creationId xmlns:a16="http://schemas.microsoft.com/office/drawing/2014/main" id="{832679EB-2057-4D37-8CD0-1B1B12F9F8BE}"/>
              </a:ext>
            </a:extLst>
          </p:cNvPr>
          <p:cNvSpPr>
            <a:spLocks noGrp="1"/>
          </p:cNvSpPr>
          <p:nvPr>
            <p:ph type="body" sz="quarter" idx="12"/>
          </p:nvPr>
        </p:nvSpPr>
        <p:spPr/>
        <p:txBody>
          <a:bodyPr/>
          <a:lstStyle/>
          <a:p>
            <a:endParaRPr lang="en-GB"/>
          </a:p>
        </p:txBody>
      </p:sp>
      <p:pic>
        <p:nvPicPr>
          <p:cNvPr id="7" name="Picture 6">
            <a:extLst>
              <a:ext uri="{FF2B5EF4-FFF2-40B4-BE49-F238E27FC236}">
                <a16:creationId xmlns:a16="http://schemas.microsoft.com/office/drawing/2014/main" id="{D0CE6675-B611-4FBA-A5FC-26D88C1E7DA6}"/>
              </a:ext>
            </a:extLst>
          </p:cNvPr>
          <p:cNvPicPr>
            <a:picLocks noChangeAspect="1"/>
          </p:cNvPicPr>
          <p:nvPr/>
        </p:nvPicPr>
        <p:blipFill rotWithShape="1">
          <a:blip r:embed="rId2"/>
          <a:srcRect t="2845"/>
          <a:stretch/>
        </p:blipFill>
        <p:spPr>
          <a:xfrm>
            <a:off x="65144" y="900227"/>
            <a:ext cx="8218689" cy="5902329"/>
          </a:xfrm>
          <a:prstGeom prst="rect">
            <a:avLst/>
          </a:prstGeom>
        </p:spPr>
      </p:pic>
      <p:pic>
        <p:nvPicPr>
          <p:cNvPr id="9" name="Picture 8">
            <a:extLst>
              <a:ext uri="{FF2B5EF4-FFF2-40B4-BE49-F238E27FC236}">
                <a16:creationId xmlns:a16="http://schemas.microsoft.com/office/drawing/2014/main" id="{0AD31688-8D07-42CD-B42B-BA459B9C6A87}"/>
              </a:ext>
            </a:extLst>
          </p:cNvPr>
          <p:cNvPicPr>
            <a:picLocks noChangeAspect="1"/>
          </p:cNvPicPr>
          <p:nvPr/>
        </p:nvPicPr>
        <p:blipFill>
          <a:blip r:embed="rId3"/>
          <a:stretch>
            <a:fillRect/>
          </a:stretch>
        </p:blipFill>
        <p:spPr>
          <a:xfrm>
            <a:off x="8496300" y="1099375"/>
            <a:ext cx="3313273" cy="4666072"/>
          </a:xfrm>
          <a:prstGeom prst="rect">
            <a:avLst/>
          </a:prstGeom>
        </p:spPr>
      </p:pic>
    </p:spTree>
    <p:extLst>
      <p:ext uri="{BB962C8B-B14F-4D97-AF65-F5344CB8AC3E}">
        <p14:creationId xmlns:p14="http://schemas.microsoft.com/office/powerpoint/2010/main" val="634229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8DE26-7C5E-4F50-8F4D-913CE4BCF30A}"/>
              </a:ext>
            </a:extLst>
          </p:cNvPr>
          <p:cNvSpPr>
            <a:spLocks noGrp="1"/>
          </p:cNvSpPr>
          <p:nvPr>
            <p:ph type="title"/>
          </p:nvPr>
        </p:nvSpPr>
        <p:spPr/>
        <p:txBody>
          <a:bodyPr/>
          <a:lstStyle/>
          <a:p>
            <a:r>
              <a:rPr lang="en-GB" dirty="0"/>
              <a:t>Making sense of the Plan (s)</a:t>
            </a:r>
          </a:p>
        </p:txBody>
      </p:sp>
      <p:pic>
        <p:nvPicPr>
          <p:cNvPr id="5" name="Picture 4">
            <a:hlinkClick r:id="rId2"/>
            <a:extLst>
              <a:ext uri="{FF2B5EF4-FFF2-40B4-BE49-F238E27FC236}">
                <a16:creationId xmlns:a16="http://schemas.microsoft.com/office/drawing/2014/main" id="{615AD0F3-ADB2-4A10-83DA-BCD7217B8AC3}"/>
              </a:ext>
            </a:extLst>
          </p:cNvPr>
          <p:cNvPicPr>
            <a:picLocks noChangeAspect="1"/>
          </p:cNvPicPr>
          <p:nvPr/>
        </p:nvPicPr>
        <p:blipFill>
          <a:blip r:embed="rId3"/>
          <a:stretch>
            <a:fillRect/>
          </a:stretch>
        </p:blipFill>
        <p:spPr>
          <a:xfrm rot="21014395">
            <a:off x="247436" y="3754193"/>
            <a:ext cx="1777914" cy="2499819"/>
          </a:xfrm>
          <a:prstGeom prst="rect">
            <a:avLst/>
          </a:prstGeom>
          <a:ln>
            <a:solidFill>
              <a:srgbClr val="000000"/>
            </a:solidFill>
          </a:ln>
        </p:spPr>
      </p:pic>
      <p:pic>
        <p:nvPicPr>
          <p:cNvPr id="9" name="Picture 8">
            <a:hlinkClick r:id="rId4"/>
            <a:extLst>
              <a:ext uri="{FF2B5EF4-FFF2-40B4-BE49-F238E27FC236}">
                <a16:creationId xmlns:a16="http://schemas.microsoft.com/office/drawing/2014/main" id="{DED0FC15-6F51-4776-9227-10700FE2794C}"/>
              </a:ext>
            </a:extLst>
          </p:cNvPr>
          <p:cNvPicPr>
            <a:picLocks noChangeAspect="1"/>
          </p:cNvPicPr>
          <p:nvPr/>
        </p:nvPicPr>
        <p:blipFill>
          <a:blip r:embed="rId5"/>
          <a:stretch>
            <a:fillRect/>
          </a:stretch>
        </p:blipFill>
        <p:spPr>
          <a:xfrm rot="21436490">
            <a:off x="2386733" y="4042520"/>
            <a:ext cx="1729304" cy="2419389"/>
          </a:xfrm>
          <a:prstGeom prst="rect">
            <a:avLst/>
          </a:prstGeom>
          <a:ln>
            <a:solidFill>
              <a:srgbClr val="000000"/>
            </a:solidFill>
          </a:ln>
        </p:spPr>
      </p:pic>
      <p:pic>
        <p:nvPicPr>
          <p:cNvPr id="11" name="Picture 10">
            <a:hlinkClick r:id="rId6"/>
            <a:extLst>
              <a:ext uri="{FF2B5EF4-FFF2-40B4-BE49-F238E27FC236}">
                <a16:creationId xmlns:a16="http://schemas.microsoft.com/office/drawing/2014/main" id="{7E44E398-FFC7-4C41-AD6D-018631082732}"/>
              </a:ext>
            </a:extLst>
          </p:cNvPr>
          <p:cNvPicPr>
            <a:picLocks noChangeAspect="1"/>
          </p:cNvPicPr>
          <p:nvPr/>
        </p:nvPicPr>
        <p:blipFill>
          <a:blip r:embed="rId7"/>
          <a:stretch>
            <a:fillRect/>
          </a:stretch>
        </p:blipFill>
        <p:spPr>
          <a:xfrm rot="391691">
            <a:off x="4966314" y="4183387"/>
            <a:ext cx="1719970" cy="2419389"/>
          </a:xfrm>
          <a:prstGeom prst="rect">
            <a:avLst/>
          </a:prstGeom>
        </p:spPr>
      </p:pic>
      <p:pic>
        <p:nvPicPr>
          <p:cNvPr id="13" name="Picture 12">
            <a:extLst>
              <a:ext uri="{FF2B5EF4-FFF2-40B4-BE49-F238E27FC236}">
                <a16:creationId xmlns:a16="http://schemas.microsoft.com/office/drawing/2014/main" id="{B59B71DF-B120-4A62-81B4-E4C4EFD2A014}"/>
              </a:ext>
            </a:extLst>
          </p:cNvPr>
          <p:cNvPicPr>
            <a:picLocks noChangeAspect="1"/>
          </p:cNvPicPr>
          <p:nvPr/>
        </p:nvPicPr>
        <p:blipFill>
          <a:blip r:embed="rId8"/>
          <a:stretch>
            <a:fillRect/>
          </a:stretch>
        </p:blipFill>
        <p:spPr>
          <a:xfrm rot="21312482">
            <a:off x="4379688" y="1463901"/>
            <a:ext cx="1788065" cy="2499819"/>
          </a:xfrm>
          <a:prstGeom prst="rect">
            <a:avLst/>
          </a:prstGeom>
        </p:spPr>
      </p:pic>
      <p:pic>
        <p:nvPicPr>
          <p:cNvPr id="17" name="Picture 16">
            <a:extLst>
              <a:ext uri="{FF2B5EF4-FFF2-40B4-BE49-F238E27FC236}">
                <a16:creationId xmlns:a16="http://schemas.microsoft.com/office/drawing/2014/main" id="{811042BE-5990-4979-AC90-410F6863E857}"/>
              </a:ext>
            </a:extLst>
          </p:cNvPr>
          <p:cNvPicPr>
            <a:picLocks noChangeAspect="1"/>
          </p:cNvPicPr>
          <p:nvPr/>
        </p:nvPicPr>
        <p:blipFill>
          <a:blip r:embed="rId9"/>
          <a:stretch>
            <a:fillRect/>
          </a:stretch>
        </p:blipFill>
        <p:spPr>
          <a:xfrm rot="1147376">
            <a:off x="9463076" y="3270133"/>
            <a:ext cx="1871999" cy="2608697"/>
          </a:xfrm>
          <a:prstGeom prst="rect">
            <a:avLst/>
          </a:prstGeom>
          <a:ln>
            <a:solidFill>
              <a:srgbClr val="000000"/>
            </a:solidFill>
          </a:ln>
        </p:spPr>
      </p:pic>
      <p:pic>
        <p:nvPicPr>
          <p:cNvPr id="19" name="Picture 18">
            <a:extLst>
              <a:ext uri="{FF2B5EF4-FFF2-40B4-BE49-F238E27FC236}">
                <a16:creationId xmlns:a16="http://schemas.microsoft.com/office/drawing/2014/main" id="{65257206-DC47-4779-85C4-A979FBE01C01}"/>
              </a:ext>
            </a:extLst>
          </p:cNvPr>
          <p:cNvPicPr>
            <a:picLocks noChangeAspect="1"/>
          </p:cNvPicPr>
          <p:nvPr/>
        </p:nvPicPr>
        <p:blipFill rotWithShape="1">
          <a:blip r:embed="rId10"/>
          <a:srcRect b="53034"/>
          <a:stretch/>
        </p:blipFill>
        <p:spPr>
          <a:xfrm rot="429029">
            <a:off x="9020343" y="1267661"/>
            <a:ext cx="2757464" cy="1832196"/>
          </a:xfrm>
          <a:prstGeom prst="rect">
            <a:avLst/>
          </a:prstGeom>
          <a:ln>
            <a:solidFill>
              <a:srgbClr val="000000"/>
            </a:solidFill>
          </a:ln>
        </p:spPr>
      </p:pic>
      <p:pic>
        <p:nvPicPr>
          <p:cNvPr id="23" name="Picture 22">
            <a:hlinkClick r:id="rId11"/>
            <a:extLst>
              <a:ext uri="{FF2B5EF4-FFF2-40B4-BE49-F238E27FC236}">
                <a16:creationId xmlns:a16="http://schemas.microsoft.com/office/drawing/2014/main" id="{05E05011-9A03-4D12-98A3-15583C35C9C5}"/>
              </a:ext>
            </a:extLst>
          </p:cNvPr>
          <p:cNvPicPr>
            <a:picLocks noChangeAspect="1"/>
          </p:cNvPicPr>
          <p:nvPr/>
        </p:nvPicPr>
        <p:blipFill>
          <a:blip r:embed="rId12"/>
          <a:stretch>
            <a:fillRect/>
          </a:stretch>
        </p:blipFill>
        <p:spPr>
          <a:xfrm rot="443428">
            <a:off x="2045208" y="1307163"/>
            <a:ext cx="1760625" cy="2499819"/>
          </a:xfrm>
          <a:prstGeom prst="rect">
            <a:avLst/>
          </a:prstGeom>
          <a:ln>
            <a:solidFill>
              <a:srgbClr val="000000"/>
            </a:solidFill>
          </a:ln>
        </p:spPr>
      </p:pic>
      <p:pic>
        <p:nvPicPr>
          <p:cNvPr id="24" name="Picture 23">
            <a:extLst>
              <a:ext uri="{FF2B5EF4-FFF2-40B4-BE49-F238E27FC236}">
                <a16:creationId xmlns:a16="http://schemas.microsoft.com/office/drawing/2014/main" id="{86F1FC5C-25B6-4D9F-B4E0-D2612EB92F33}"/>
              </a:ext>
            </a:extLst>
          </p:cNvPr>
          <p:cNvPicPr>
            <a:picLocks noChangeAspect="1"/>
          </p:cNvPicPr>
          <p:nvPr/>
        </p:nvPicPr>
        <p:blipFill>
          <a:blip r:embed="rId13"/>
          <a:stretch>
            <a:fillRect/>
          </a:stretch>
        </p:blipFill>
        <p:spPr>
          <a:xfrm rot="20937111">
            <a:off x="7034332" y="3937719"/>
            <a:ext cx="1719803" cy="2421585"/>
          </a:xfrm>
          <a:prstGeom prst="rect">
            <a:avLst/>
          </a:prstGeom>
        </p:spPr>
      </p:pic>
      <p:pic>
        <p:nvPicPr>
          <p:cNvPr id="26" name="Picture 25">
            <a:extLst>
              <a:ext uri="{FF2B5EF4-FFF2-40B4-BE49-F238E27FC236}">
                <a16:creationId xmlns:a16="http://schemas.microsoft.com/office/drawing/2014/main" id="{A9237F91-F2F6-4118-BF81-444ACD3894F1}"/>
              </a:ext>
            </a:extLst>
          </p:cNvPr>
          <p:cNvPicPr>
            <a:picLocks noChangeAspect="1"/>
          </p:cNvPicPr>
          <p:nvPr/>
        </p:nvPicPr>
        <p:blipFill>
          <a:blip r:embed="rId14"/>
          <a:stretch>
            <a:fillRect/>
          </a:stretch>
        </p:blipFill>
        <p:spPr>
          <a:xfrm rot="20583925">
            <a:off x="6699957" y="1311234"/>
            <a:ext cx="1743277" cy="2491676"/>
          </a:xfrm>
          <a:prstGeom prst="rect">
            <a:avLst/>
          </a:prstGeom>
        </p:spPr>
      </p:pic>
      <p:pic>
        <p:nvPicPr>
          <p:cNvPr id="28" name="Picture 27">
            <a:extLst>
              <a:ext uri="{FF2B5EF4-FFF2-40B4-BE49-F238E27FC236}">
                <a16:creationId xmlns:a16="http://schemas.microsoft.com/office/drawing/2014/main" id="{4CCD02FF-E4DC-47B3-B14C-02E2CE578D08}"/>
              </a:ext>
            </a:extLst>
          </p:cNvPr>
          <p:cNvPicPr>
            <a:picLocks noChangeAspect="1"/>
          </p:cNvPicPr>
          <p:nvPr/>
        </p:nvPicPr>
        <p:blipFill>
          <a:blip r:embed="rId15"/>
          <a:stretch>
            <a:fillRect/>
          </a:stretch>
        </p:blipFill>
        <p:spPr>
          <a:xfrm rot="21163503">
            <a:off x="272119" y="1063368"/>
            <a:ext cx="1728547" cy="2458671"/>
          </a:xfrm>
          <a:prstGeom prst="rect">
            <a:avLst/>
          </a:prstGeom>
          <a:ln>
            <a:solidFill>
              <a:srgbClr val="000000"/>
            </a:solidFill>
          </a:ln>
        </p:spPr>
      </p:pic>
    </p:spTree>
    <p:extLst>
      <p:ext uri="{BB962C8B-B14F-4D97-AF65-F5344CB8AC3E}">
        <p14:creationId xmlns:p14="http://schemas.microsoft.com/office/powerpoint/2010/main" val="5388255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AF833-1E07-4A63-A264-3B299F70B1E9}"/>
              </a:ext>
            </a:extLst>
          </p:cNvPr>
          <p:cNvSpPr>
            <a:spLocks noGrp="1"/>
          </p:cNvSpPr>
          <p:nvPr>
            <p:ph type="title"/>
          </p:nvPr>
        </p:nvSpPr>
        <p:spPr>
          <a:xfrm>
            <a:off x="472917" y="-1"/>
            <a:ext cx="8130310" cy="1166843"/>
          </a:xfrm>
        </p:spPr>
        <p:txBody>
          <a:bodyPr/>
          <a:lstStyle/>
          <a:p>
            <a:br>
              <a:rPr lang="en-US" dirty="0"/>
            </a:br>
            <a:r>
              <a:rPr lang="en-US" dirty="0"/>
              <a:t>Shaping and supporting the research</a:t>
            </a:r>
            <a:br>
              <a:rPr lang="en-US" dirty="0"/>
            </a:br>
            <a:br>
              <a:rPr lang="en-US" dirty="0"/>
            </a:br>
            <a:r>
              <a:rPr lang="en-US" sz="2400" dirty="0"/>
              <a:t>Zero Emission Road Freight (ZERF) trial options</a:t>
            </a:r>
            <a:endParaRPr lang="en-GB" dirty="0"/>
          </a:p>
        </p:txBody>
      </p:sp>
      <p:sp>
        <p:nvSpPr>
          <p:cNvPr id="3" name="Text Placeholder 2">
            <a:extLst>
              <a:ext uri="{FF2B5EF4-FFF2-40B4-BE49-F238E27FC236}">
                <a16:creationId xmlns:a16="http://schemas.microsoft.com/office/drawing/2014/main" id="{1C52E3CB-53CF-40F1-B0BA-48DFCCE1685A}"/>
              </a:ext>
            </a:extLst>
          </p:cNvPr>
          <p:cNvSpPr>
            <a:spLocks noGrp="1"/>
          </p:cNvSpPr>
          <p:nvPr>
            <p:ph type="body" sz="quarter" idx="12"/>
          </p:nvPr>
        </p:nvSpPr>
        <p:spPr>
          <a:xfrm>
            <a:off x="411814" y="1166843"/>
            <a:ext cx="8139419" cy="380603"/>
          </a:xfrm>
        </p:spPr>
        <p:txBody>
          <a:bodyPr/>
          <a:lstStyle/>
          <a:p>
            <a:r>
              <a:rPr lang="en-US" dirty="0"/>
              <a:t>Many common components so UK supply chain focus too</a:t>
            </a:r>
            <a:endParaRPr lang="en-GB" dirty="0"/>
          </a:p>
        </p:txBody>
      </p:sp>
      <p:pic>
        <p:nvPicPr>
          <p:cNvPr id="5" name="Picture 4">
            <a:extLst>
              <a:ext uri="{FF2B5EF4-FFF2-40B4-BE49-F238E27FC236}">
                <a16:creationId xmlns:a16="http://schemas.microsoft.com/office/drawing/2014/main" id="{4BD021A4-604B-4421-B61A-5A5AD2DCA2C3}"/>
              </a:ext>
            </a:extLst>
          </p:cNvPr>
          <p:cNvPicPr>
            <a:picLocks noChangeAspect="1"/>
          </p:cNvPicPr>
          <p:nvPr/>
        </p:nvPicPr>
        <p:blipFill>
          <a:blip r:embed="rId2"/>
          <a:stretch>
            <a:fillRect/>
          </a:stretch>
        </p:blipFill>
        <p:spPr>
          <a:xfrm>
            <a:off x="3829051" y="1682720"/>
            <a:ext cx="3999032" cy="5038428"/>
          </a:xfrm>
          <a:prstGeom prst="rect">
            <a:avLst/>
          </a:prstGeom>
        </p:spPr>
      </p:pic>
      <p:pic>
        <p:nvPicPr>
          <p:cNvPr id="7" name="Picture 6">
            <a:extLst>
              <a:ext uri="{FF2B5EF4-FFF2-40B4-BE49-F238E27FC236}">
                <a16:creationId xmlns:a16="http://schemas.microsoft.com/office/drawing/2014/main" id="{441A23DB-9AEA-4462-9E4A-511336B86AB1}"/>
              </a:ext>
            </a:extLst>
          </p:cNvPr>
          <p:cNvPicPr>
            <a:picLocks noChangeAspect="1"/>
          </p:cNvPicPr>
          <p:nvPr/>
        </p:nvPicPr>
        <p:blipFill>
          <a:blip r:embed="rId3"/>
          <a:stretch>
            <a:fillRect/>
          </a:stretch>
        </p:blipFill>
        <p:spPr>
          <a:xfrm>
            <a:off x="96634" y="1682720"/>
            <a:ext cx="3819122" cy="4070380"/>
          </a:xfrm>
          <a:prstGeom prst="rect">
            <a:avLst/>
          </a:prstGeom>
        </p:spPr>
      </p:pic>
      <p:pic>
        <p:nvPicPr>
          <p:cNvPr id="9" name="Picture 8">
            <a:extLst>
              <a:ext uri="{FF2B5EF4-FFF2-40B4-BE49-F238E27FC236}">
                <a16:creationId xmlns:a16="http://schemas.microsoft.com/office/drawing/2014/main" id="{3C5DF3B2-FF0A-4C62-8E05-6F8791487542}"/>
              </a:ext>
            </a:extLst>
          </p:cNvPr>
          <p:cNvPicPr>
            <a:picLocks noChangeAspect="1"/>
          </p:cNvPicPr>
          <p:nvPr/>
        </p:nvPicPr>
        <p:blipFill>
          <a:blip r:embed="rId4"/>
          <a:stretch>
            <a:fillRect/>
          </a:stretch>
        </p:blipFill>
        <p:spPr>
          <a:xfrm>
            <a:off x="7828083" y="1632248"/>
            <a:ext cx="4461018" cy="3080451"/>
          </a:xfrm>
          <a:prstGeom prst="rect">
            <a:avLst/>
          </a:prstGeom>
        </p:spPr>
      </p:pic>
    </p:spTree>
    <p:extLst>
      <p:ext uri="{BB962C8B-B14F-4D97-AF65-F5344CB8AC3E}">
        <p14:creationId xmlns:p14="http://schemas.microsoft.com/office/powerpoint/2010/main" val="32510718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8D6FE58-A095-4039-A5AA-4315D891019E}"/>
              </a:ext>
            </a:extLst>
          </p:cNvPr>
          <p:cNvSpPr>
            <a:spLocks noGrp="1"/>
          </p:cNvSpPr>
          <p:nvPr>
            <p:ph type="title"/>
          </p:nvPr>
        </p:nvSpPr>
        <p:spPr/>
        <p:txBody>
          <a:bodyPr/>
          <a:lstStyle/>
          <a:p>
            <a:r>
              <a:rPr lang="en-GB" dirty="0"/>
              <a:t>Take the quick wins    …….   Quickly</a:t>
            </a:r>
          </a:p>
        </p:txBody>
      </p:sp>
      <p:sp>
        <p:nvSpPr>
          <p:cNvPr id="5" name="Text Placeholder 4">
            <a:extLst>
              <a:ext uri="{FF2B5EF4-FFF2-40B4-BE49-F238E27FC236}">
                <a16:creationId xmlns:a16="http://schemas.microsoft.com/office/drawing/2014/main" id="{EACD776D-7E66-4A9F-8E16-346C6EB197CF}"/>
              </a:ext>
            </a:extLst>
          </p:cNvPr>
          <p:cNvSpPr>
            <a:spLocks noGrp="1"/>
          </p:cNvSpPr>
          <p:nvPr>
            <p:ph type="body" sz="quarter" idx="12"/>
          </p:nvPr>
        </p:nvSpPr>
        <p:spPr>
          <a:xfrm>
            <a:off x="463809" y="903075"/>
            <a:ext cx="6540107" cy="4641692"/>
          </a:xfrm>
        </p:spPr>
        <p:txBody>
          <a:bodyPr/>
          <a:lstStyle/>
          <a:p>
            <a:r>
              <a:rPr lang="en-GB" dirty="0"/>
              <a:t>96% of </a:t>
            </a:r>
            <a:r>
              <a:rPr lang="en-GB"/>
              <a:t>the total </a:t>
            </a:r>
            <a:r>
              <a:rPr lang="en-GB" dirty="0"/>
              <a:t>GHG impact from conventional </a:t>
            </a:r>
            <a:r>
              <a:rPr lang="en-GB"/>
              <a:t>Diesel HGVs, </a:t>
            </a:r>
            <a:r>
              <a:rPr lang="en-GB" dirty="0"/>
              <a:t>is from fuel used in operation</a:t>
            </a:r>
          </a:p>
          <a:p>
            <a:r>
              <a:rPr lang="en-GB" dirty="0"/>
              <a:t>Easy wins today and tomorrow</a:t>
            </a:r>
          </a:p>
          <a:p>
            <a:r>
              <a:rPr lang="en-GB" b="1" dirty="0">
                <a:solidFill>
                  <a:schemeClr val="bg2">
                    <a:lumMod val="75000"/>
                  </a:schemeClr>
                </a:solidFill>
              </a:rPr>
              <a:t>Reducing fuel used – </a:t>
            </a:r>
          </a:p>
          <a:p>
            <a:r>
              <a:rPr lang="en-GB" b="1" dirty="0">
                <a:solidFill>
                  <a:schemeClr val="bg2">
                    <a:lumMod val="75000"/>
                  </a:schemeClr>
                </a:solidFill>
              </a:rPr>
              <a:t>	Aero, Tyres, Driving style</a:t>
            </a:r>
          </a:p>
          <a:p>
            <a:r>
              <a:rPr lang="en-GB" b="1" dirty="0">
                <a:solidFill>
                  <a:schemeClr val="bg2">
                    <a:lumMod val="75000"/>
                  </a:schemeClr>
                </a:solidFill>
              </a:rPr>
              <a:t>Using renewable fuels –</a:t>
            </a:r>
          </a:p>
          <a:p>
            <a:r>
              <a:rPr lang="en-GB" b="1" dirty="0">
                <a:solidFill>
                  <a:schemeClr val="bg2">
                    <a:lumMod val="75000"/>
                  </a:schemeClr>
                </a:solidFill>
              </a:rPr>
              <a:t>	Biodiesel, HVO</a:t>
            </a:r>
          </a:p>
          <a:p>
            <a:r>
              <a:rPr lang="en-GB" b="1" dirty="0">
                <a:solidFill>
                  <a:schemeClr val="bg2">
                    <a:lumMod val="75000"/>
                  </a:schemeClr>
                </a:solidFill>
              </a:rPr>
              <a:t>Using Gas truck with renewable methane</a:t>
            </a:r>
          </a:p>
          <a:p>
            <a:endParaRPr lang="en-GB" dirty="0"/>
          </a:p>
          <a:p>
            <a:r>
              <a:rPr lang="en-GB" dirty="0"/>
              <a:t>While we develop a clearer picture of the future of zero (tailpipe) emission HGVs</a:t>
            </a:r>
          </a:p>
          <a:p>
            <a:r>
              <a:rPr lang="en-GB" dirty="0"/>
              <a:t>	</a:t>
            </a:r>
          </a:p>
          <a:p>
            <a:endParaRPr lang="en-GB" dirty="0"/>
          </a:p>
        </p:txBody>
      </p:sp>
      <p:graphicFrame>
        <p:nvGraphicFramePr>
          <p:cNvPr id="8" name="Chart 7">
            <a:extLst>
              <a:ext uri="{FF2B5EF4-FFF2-40B4-BE49-F238E27FC236}">
                <a16:creationId xmlns:a16="http://schemas.microsoft.com/office/drawing/2014/main" id="{BB44D570-61E8-4CF7-A78D-1AD50EFB6716}"/>
              </a:ext>
            </a:extLst>
          </p:cNvPr>
          <p:cNvGraphicFramePr/>
          <p:nvPr/>
        </p:nvGraphicFramePr>
        <p:xfrm>
          <a:off x="6549958" y="1500846"/>
          <a:ext cx="5500247" cy="419307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9268217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F853-376A-4CA0-AD81-E893418B2A39}"/>
              </a:ext>
            </a:extLst>
          </p:cNvPr>
          <p:cNvSpPr>
            <a:spLocks noGrp="1"/>
          </p:cNvSpPr>
          <p:nvPr>
            <p:ph type="title"/>
          </p:nvPr>
        </p:nvSpPr>
        <p:spPr>
          <a:xfrm>
            <a:off x="472917" y="-10614"/>
            <a:ext cx="8861583" cy="1162405"/>
          </a:xfrm>
        </p:spPr>
        <p:txBody>
          <a:bodyPr/>
          <a:lstStyle/>
          <a:p>
            <a:r>
              <a:rPr lang="en-US" dirty="0"/>
              <a:t>Don’t forget Ancillaries,</a:t>
            </a:r>
            <a:br>
              <a:rPr lang="en-US" dirty="0"/>
            </a:br>
            <a:r>
              <a:rPr lang="en-US" dirty="0"/>
              <a:t>Transport Refrigeration Units</a:t>
            </a:r>
            <a:endParaRPr lang="en-GB" dirty="0"/>
          </a:p>
        </p:txBody>
      </p:sp>
      <p:sp>
        <p:nvSpPr>
          <p:cNvPr id="3" name="Text Placeholder 2">
            <a:extLst>
              <a:ext uri="{FF2B5EF4-FFF2-40B4-BE49-F238E27FC236}">
                <a16:creationId xmlns:a16="http://schemas.microsoft.com/office/drawing/2014/main" id="{71394265-C8FF-474E-9BB4-860335535C97}"/>
              </a:ext>
            </a:extLst>
          </p:cNvPr>
          <p:cNvSpPr>
            <a:spLocks noGrp="1"/>
          </p:cNvSpPr>
          <p:nvPr>
            <p:ph type="body" sz="quarter" idx="12"/>
          </p:nvPr>
        </p:nvSpPr>
        <p:spPr>
          <a:xfrm>
            <a:off x="231380" y="1700808"/>
            <a:ext cx="6814270" cy="3024336"/>
          </a:xfrm>
        </p:spPr>
        <p:txBody>
          <a:bodyPr/>
          <a:lstStyle/>
          <a:p>
            <a:pPr marL="342900" indent="-342900">
              <a:buBlip>
                <a:blip r:embed="rId2"/>
              </a:buBlip>
            </a:pPr>
            <a:r>
              <a:rPr lang="en-US" dirty="0"/>
              <a:t>Report published in September</a:t>
            </a:r>
          </a:p>
          <a:p>
            <a:pPr marL="342900" indent="-342900">
              <a:buBlip>
                <a:blip r:embed="rId2"/>
              </a:buBlip>
            </a:pPr>
            <a:r>
              <a:rPr lang="en-US" dirty="0"/>
              <a:t>Industry workshop (with Cold Chain Federation) Tuesday 26</a:t>
            </a:r>
            <a:r>
              <a:rPr lang="en-US" baseline="30000" dirty="0"/>
              <a:t>th</a:t>
            </a:r>
            <a:r>
              <a:rPr lang="en-US" dirty="0"/>
              <a:t> October, 2:30-4:30pm</a:t>
            </a:r>
          </a:p>
          <a:p>
            <a:pPr marL="588963" lvl="1" indent="-342900">
              <a:buBlip>
                <a:blip r:embed="rId2"/>
              </a:buBlip>
            </a:pPr>
            <a:r>
              <a:rPr lang="en-US" dirty="0"/>
              <a:t>Develop consensus around next steps</a:t>
            </a:r>
          </a:p>
          <a:p>
            <a:pPr marL="588963" lvl="1" indent="-342900">
              <a:buBlip>
                <a:blip r:embed="rId2"/>
              </a:buBlip>
            </a:pPr>
            <a:r>
              <a:rPr lang="en-US" dirty="0"/>
              <a:t>Disseminate Zemo and CCF reports</a:t>
            </a:r>
          </a:p>
          <a:p>
            <a:pPr marL="588963" lvl="1" indent="-342900">
              <a:buBlip>
                <a:blip r:embed="rId2"/>
              </a:buBlip>
            </a:pPr>
            <a:r>
              <a:rPr lang="en-US" dirty="0"/>
              <a:t>Raise awareness of alternative technologies</a:t>
            </a:r>
          </a:p>
          <a:p>
            <a:pPr marL="588963" lvl="1" indent="-342900">
              <a:buBlip>
                <a:blip r:embed="rId2"/>
              </a:buBlip>
            </a:pPr>
            <a:endParaRPr lang="en-GB" dirty="0"/>
          </a:p>
        </p:txBody>
      </p:sp>
      <p:pic>
        <p:nvPicPr>
          <p:cNvPr id="6" name="Picture 5">
            <a:extLst>
              <a:ext uri="{FF2B5EF4-FFF2-40B4-BE49-F238E27FC236}">
                <a16:creationId xmlns:a16="http://schemas.microsoft.com/office/drawing/2014/main" id="{F14C0206-3134-4CAF-BBAD-4F16F8EE3A8A}"/>
              </a:ext>
            </a:extLst>
          </p:cNvPr>
          <p:cNvPicPr>
            <a:picLocks noChangeAspect="1"/>
          </p:cNvPicPr>
          <p:nvPr/>
        </p:nvPicPr>
        <p:blipFill>
          <a:blip r:embed="rId3"/>
          <a:stretch>
            <a:fillRect/>
          </a:stretch>
        </p:blipFill>
        <p:spPr>
          <a:xfrm rot="1513039">
            <a:off x="9206734" y="3122507"/>
            <a:ext cx="2344199" cy="3311522"/>
          </a:xfrm>
          <a:prstGeom prst="rect">
            <a:avLst/>
          </a:prstGeom>
        </p:spPr>
      </p:pic>
      <p:pic>
        <p:nvPicPr>
          <p:cNvPr id="8" name="Picture 7">
            <a:extLst>
              <a:ext uri="{FF2B5EF4-FFF2-40B4-BE49-F238E27FC236}">
                <a16:creationId xmlns:a16="http://schemas.microsoft.com/office/drawing/2014/main" id="{74A6A11F-666B-43DF-843E-91DE5F591CBE}"/>
              </a:ext>
            </a:extLst>
          </p:cNvPr>
          <p:cNvPicPr>
            <a:picLocks noChangeAspect="1"/>
          </p:cNvPicPr>
          <p:nvPr/>
        </p:nvPicPr>
        <p:blipFill>
          <a:blip r:embed="rId4"/>
          <a:stretch>
            <a:fillRect/>
          </a:stretch>
        </p:blipFill>
        <p:spPr>
          <a:xfrm rot="1531312">
            <a:off x="7592992" y="1382750"/>
            <a:ext cx="2176667" cy="3096567"/>
          </a:xfrm>
          <a:prstGeom prst="rect">
            <a:avLst/>
          </a:prstGeom>
        </p:spPr>
      </p:pic>
    </p:spTree>
    <p:extLst>
      <p:ext uri="{BB962C8B-B14F-4D97-AF65-F5344CB8AC3E}">
        <p14:creationId xmlns:p14="http://schemas.microsoft.com/office/powerpoint/2010/main" val="14732290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F853-376A-4CA0-AD81-E893418B2A39}"/>
              </a:ext>
            </a:extLst>
          </p:cNvPr>
          <p:cNvSpPr>
            <a:spLocks noGrp="1"/>
          </p:cNvSpPr>
          <p:nvPr>
            <p:ph type="title"/>
          </p:nvPr>
        </p:nvSpPr>
        <p:spPr>
          <a:xfrm>
            <a:off x="472917" y="-10614"/>
            <a:ext cx="8861583" cy="1223951"/>
          </a:xfrm>
        </p:spPr>
        <p:txBody>
          <a:bodyPr/>
          <a:lstStyle/>
          <a:p>
            <a:r>
              <a:rPr lang="en-GB" dirty="0"/>
              <a:t>Supporting the commitment with actions…</a:t>
            </a:r>
            <a:br>
              <a:rPr lang="en-GB" dirty="0"/>
            </a:br>
            <a:r>
              <a:rPr lang="en-GB" dirty="0"/>
              <a:t>for government , industry and users</a:t>
            </a:r>
          </a:p>
        </p:txBody>
      </p:sp>
      <p:sp>
        <p:nvSpPr>
          <p:cNvPr id="3" name="Text Placeholder 2">
            <a:extLst>
              <a:ext uri="{FF2B5EF4-FFF2-40B4-BE49-F238E27FC236}">
                <a16:creationId xmlns:a16="http://schemas.microsoft.com/office/drawing/2014/main" id="{71394265-C8FF-474E-9BB4-860335535C97}"/>
              </a:ext>
            </a:extLst>
          </p:cNvPr>
          <p:cNvSpPr>
            <a:spLocks noGrp="1"/>
          </p:cNvSpPr>
          <p:nvPr>
            <p:ph type="body" sz="quarter" idx="12"/>
          </p:nvPr>
        </p:nvSpPr>
        <p:spPr>
          <a:xfrm>
            <a:off x="231380" y="1700808"/>
            <a:ext cx="11778912" cy="3024336"/>
          </a:xfrm>
        </p:spPr>
        <p:txBody>
          <a:bodyPr/>
          <a:lstStyle/>
          <a:p>
            <a:pPr marL="342900" indent="-342900">
              <a:buBlip>
                <a:blip r:embed="rId2"/>
              </a:buBlip>
            </a:pPr>
            <a:r>
              <a:rPr lang="en-US" dirty="0"/>
              <a:t>Development of the Plug-in Van &amp; Truck Grant scheme and standards</a:t>
            </a:r>
          </a:p>
          <a:p>
            <a:pPr marL="342900" indent="-342900">
              <a:buBlip>
                <a:blip r:embed="rId2"/>
              </a:buBlip>
            </a:pPr>
            <a:r>
              <a:rPr lang="en-US" dirty="0"/>
              <a:t>Renewable fuel policy proposals to government</a:t>
            </a:r>
          </a:p>
          <a:p>
            <a:pPr marL="342900" indent="-342900">
              <a:buBlip>
                <a:blip r:embed="rId2"/>
              </a:buBlip>
            </a:pPr>
            <a:r>
              <a:rPr lang="en-US" dirty="0"/>
              <a:t>Renewable fuel assurance scheme for suppliers and operators</a:t>
            </a:r>
          </a:p>
          <a:p>
            <a:pPr marL="342900" indent="-342900">
              <a:buBlip>
                <a:blip r:embed="rId2"/>
              </a:buBlip>
            </a:pPr>
            <a:r>
              <a:rPr lang="en-US" dirty="0"/>
              <a:t>Electrification of Fleets at depots – energy and infrastructure</a:t>
            </a:r>
          </a:p>
          <a:p>
            <a:pPr marL="342900" indent="-342900">
              <a:buBlip>
                <a:blip r:embed="rId2"/>
              </a:buBlip>
            </a:pPr>
            <a:r>
              <a:rPr lang="en-US" dirty="0"/>
              <a:t>Technology assessment and accreditation for fuel and carbon savings</a:t>
            </a:r>
          </a:p>
          <a:p>
            <a:pPr marL="342900" indent="-342900">
              <a:buBlip>
                <a:blip r:embed="rId2"/>
              </a:buBlip>
            </a:pPr>
            <a:r>
              <a:rPr lang="en-US" dirty="0"/>
              <a:t>Consultation support on ICE phase out plans</a:t>
            </a:r>
          </a:p>
          <a:p>
            <a:pPr marL="342900" indent="-342900">
              <a:buBlip>
                <a:blip r:embed="rId2"/>
              </a:buBlip>
            </a:pPr>
            <a:r>
              <a:rPr lang="en-US" dirty="0"/>
              <a:t>Hydrogen well to tank and well to wheel studies</a:t>
            </a:r>
          </a:p>
          <a:p>
            <a:pPr marL="342900" indent="-342900">
              <a:buBlip>
                <a:blip r:embed="rId2"/>
              </a:buBlip>
            </a:pPr>
            <a:r>
              <a:rPr lang="en-US" dirty="0"/>
              <a:t>Actions for new vehicle sectors (Powered Light vehicles)</a:t>
            </a:r>
          </a:p>
          <a:p>
            <a:pPr marL="342900" indent="-342900">
              <a:buBlip>
                <a:blip r:embed="rId2"/>
              </a:buBlip>
            </a:pPr>
            <a:endParaRPr lang="en-US" dirty="0"/>
          </a:p>
          <a:p>
            <a:pPr marL="342900" indent="-342900">
              <a:buBlip>
                <a:blip r:embed="rId2"/>
              </a:buBlip>
            </a:pPr>
            <a:r>
              <a:rPr lang="en-US" dirty="0"/>
              <a:t>None of us can decarbonize alone, but together……. In partnership….</a:t>
            </a:r>
          </a:p>
          <a:p>
            <a:pPr marL="588963" lvl="1" indent="-342900">
              <a:buBlip>
                <a:blip r:embed="rId2"/>
              </a:buBlip>
            </a:pPr>
            <a:endParaRPr lang="en-GB" dirty="0"/>
          </a:p>
        </p:txBody>
      </p:sp>
    </p:spTree>
    <p:extLst>
      <p:ext uri="{BB962C8B-B14F-4D97-AF65-F5344CB8AC3E}">
        <p14:creationId xmlns:p14="http://schemas.microsoft.com/office/powerpoint/2010/main" val="33506697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2F853-376A-4CA0-AD81-E893418B2A39}"/>
              </a:ext>
            </a:extLst>
          </p:cNvPr>
          <p:cNvSpPr>
            <a:spLocks noGrp="1"/>
          </p:cNvSpPr>
          <p:nvPr>
            <p:ph type="title"/>
          </p:nvPr>
        </p:nvSpPr>
        <p:spPr>
          <a:xfrm>
            <a:off x="472917" y="-10614"/>
            <a:ext cx="8861583" cy="1162405"/>
          </a:xfrm>
        </p:spPr>
        <p:txBody>
          <a:bodyPr/>
          <a:lstStyle/>
          <a:p>
            <a:r>
              <a:rPr lang="en-US" dirty="0"/>
              <a:t>Don’t forget Ancillaries,</a:t>
            </a:r>
            <a:br>
              <a:rPr lang="en-US" dirty="0"/>
            </a:br>
            <a:r>
              <a:rPr lang="en-US" dirty="0"/>
              <a:t>Transport Refrigeration Units</a:t>
            </a:r>
            <a:endParaRPr lang="en-GB" dirty="0"/>
          </a:p>
        </p:txBody>
      </p:sp>
      <p:sp>
        <p:nvSpPr>
          <p:cNvPr id="3" name="Text Placeholder 2">
            <a:extLst>
              <a:ext uri="{FF2B5EF4-FFF2-40B4-BE49-F238E27FC236}">
                <a16:creationId xmlns:a16="http://schemas.microsoft.com/office/drawing/2014/main" id="{71394265-C8FF-474E-9BB4-860335535C97}"/>
              </a:ext>
            </a:extLst>
          </p:cNvPr>
          <p:cNvSpPr>
            <a:spLocks noGrp="1"/>
          </p:cNvSpPr>
          <p:nvPr>
            <p:ph type="body" sz="quarter" idx="12"/>
          </p:nvPr>
        </p:nvSpPr>
        <p:spPr>
          <a:xfrm>
            <a:off x="231380" y="1700808"/>
            <a:ext cx="6814270" cy="3024336"/>
          </a:xfrm>
        </p:spPr>
        <p:txBody>
          <a:bodyPr/>
          <a:lstStyle/>
          <a:p>
            <a:pPr marL="342900" indent="-342900">
              <a:buBlip>
                <a:blip r:embed="rId2"/>
              </a:buBlip>
            </a:pPr>
            <a:r>
              <a:rPr lang="en-US" dirty="0"/>
              <a:t>Report published in September</a:t>
            </a:r>
          </a:p>
          <a:p>
            <a:pPr marL="342900" indent="-342900">
              <a:buBlip>
                <a:blip r:embed="rId2"/>
              </a:buBlip>
            </a:pPr>
            <a:r>
              <a:rPr lang="en-US" dirty="0"/>
              <a:t>Industry workshop (with Cold Chain Federation) Tuesday 26</a:t>
            </a:r>
            <a:r>
              <a:rPr lang="en-US" baseline="30000" dirty="0"/>
              <a:t>th</a:t>
            </a:r>
            <a:r>
              <a:rPr lang="en-US" dirty="0"/>
              <a:t> October, 2:30-4:30pm</a:t>
            </a:r>
          </a:p>
          <a:p>
            <a:pPr marL="588963" lvl="1" indent="-342900">
              <a:buBlip>
                <a:blip r:embed="rId2"/>
              </a:buBlip>
            </a:pPr>
            <a:r>
              <a:rPr lang="en-US" dirty="0"/>
              <a:t>Develop consensus around next steps</a:t>
            </a:r>
          </a:p>
          <a:p>
            <a:pPr marL="588963" lvl="1" indent="-342900">
              <a:buBlip>
                <a:blip r:embed="rId2"/>
              </a:buBlip>
            </a:pPr>
            <a:r>
              <a:rPr lang="en-US" dirty="0"/>
              <a:t>Disseminate Zemo and CCF reports</a:t>
            </a:r>
          </a:p>
          <a:p>
            <a:pPr marL="588963" lvl="1" indent="-342900">
              <a:buBlip>
                <a:blip r:embed="rId2"/>
              </a:buBlip>
            </a:pPr>
            <a:r>
              <a:rPr lang="en-US" dirty="0"/>
              <a:t>Raise awareness of alternative technologies</a:t>
            </a:r>
          </a:p>
          <a:p>
            <a:pPr marL="588963" lvl="1" indent="-342900">
              <a:buBlip>
                <a:blip r:embed="rId2"/>
              </a:buBlip>
            </a:pPr>
            <a:endParaRPr lang="en-GB" dirty="0"/>
          </a:p>
        </p:txBody>
      </p:sp>
      <p:pic>
        <p:nvPicPr>
          <p:cNvPr id="6" name="Picture 5">
            <a:extLst>
              <a:ext uri="{FF2B5EF4-FFF2-40B4-BE49-F238E27FC236}">
                <a16:creationId xmlns:a16="http://schemas.microsoft.com/office/drawing/2014/main" id="{F14C0206-3134-4CAF-BBAD-4F16F8EE3A8A}"/>
              </a:ext>
            </a:extLst>
          </p:cNvPr>
          <p:cNvPicPr>
            <a:picLocks noChangeAspect="1"/>
          </p:cNvPicPr>
          <p:nvPr/>
        </p:nvPicPr>
        <p:blipFill>
          <a:blip r:embed="rId3"/>
          <a:stretch>
            <a:fillRect/>
          </a:stretch>
        </p:blipFill>
        <p:spPr>
          <a:xfrm rot="1513039">
            <a:off x="9206734" y="3122507"/>
            <a:ext cx="2344199" cy="3311522"/>
          </a:xfrm>
          <a:prstGeom prst="rect">
            <a:avLst/>
          </a:prstGeom>
        </p:spPr>
      </p:pic>
      <p:pic>
        <p:nvPicPr>
          <p:cNvPr id="8" name="Picture 7">
            <a:extLst>
              <a:ext uri="{FF2B5EF4-FFF2-40B4-BE49-F238E27FC236}">
                <a16:creationId xmlns:a16="http://schemas.microsoft.com/office/drawing/2014/main" id="{74A6A11F-666B-43DF-843E-91DE5F591CBE}"/>
              </a:ext>
            </a:extLst>
          </p:cNvPr>
          <p:cNvPicPr>
            <a:picLocks noChangeAspect="1"/>
          </p:cNvPicPr>
          <p:nvPr/>
        </p:nvPicPr>
        <p:blipFill>
          <a:blip r:embed="rId4"/>
          <a:stretch>
            <a:fillRect/>
          </a:stretch>
        </p:blipFill>
        <p:spPr>
          <a:xfrm rot="1531312">
            <a:off x="7592992" y="1382750"/>
            <a:ext cx="2176667" cy="3096567"/>
          </a:xfrm>
          <a:prstGeom prst="rect">
            <a:avLst/>
          </a:prstGeom>
        </p:spPr>
      </p:pic>
    </p:spTree>
    <p:extLst>
      <p:ext uri="{BB962C8B-B14F-4D97-AF65-F5344CB8AC3E}">
        <p14:creationId xmlns:p14="http://schemas.microsoft.com/office/powerpoint/2010/main" val="24581607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875"/>
            <a:ext cx="12192000" cy="686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4"/>
          <p:cNvSpPr txBox="1">
            <a:spLocks noChangeArrowheads="1"/>
          </p:cNvSpPr>
          <p:nvPr/>
        </p:nvSpPr>
        <p:spPr bwMode="auto">
          <a:xfrm>
            <a:off x="2171700" y="1651569"/>
            <a:ext cx="7848600" cy="2123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pitchFamily="18" charset="0"/>
                <a:cs typeface="Arial" pitchFamily="34" charset="0"/>
              </a:defRPr>
            </a:lvl1pPr>
            <a:lvl2pPr marL="742950" indent="-285750" eaLnBrk="0" hangingPunct="0">
              <a:defRPr sz="2400">
                <a:solidFill>
                  <a:schemeClr val="tx1"/>
                </a:solidFill>
                <a:latin typeface="Times" pitchFamily="18" charset="0"/>
                <a:cs typeface="Arial" pitchFamily="34" charset="0"/>
              </a:defRPr>
            </a:lvl2pPr>
            <a:lvl3pPr marL="1143000" indent="-228600" eaLnBrk="0" hangingPunct="0">
              <a:defRPr sz="2400">
                <a:solidFill>
                  <a:schemeClr val="tx1"/>
                </a:solidFill>
                <a:latin typeface="Times" pitchFamily="18" charset="0"/>
                <a:cs typeface="Arial" pitchFamily="34" charset="0"/>
              </a:defRPr>
            </a:lvl3pPr>
            <a:lvl4pPr marL="1600200" indent="-228600" eaLnBrk="0" hangingPunct="0">
              <a:defRPr sz="2400">
                <a:solidFill>
                  <a:schemeClr val="tx1"/>
                </a:solidFill>
                <a:latin typeface="Times" pitchFamily="18" charset="0"/>
                <a:cs typeface="Arial" pitchFamily="34" charset="0"/>
              </a:defRPr>
            </a:lvl4pPr>
            <a:lvl5pPr marL="2057400" indent="-228600" eaLnBrk="0" hangingPunct="0">
              <a:defRPr sz="2400">
                <a:solidFill>
                  <a:schemeClr val="tx1"/>
                </a:solidFill>
                <a:latin typeface="Times" pitchFamily="18" charset="0"/>
                <a:cs typeface="Arial" pitchFamily="34" charset="0"/>
              </a:defRPr>
            </a:lvl5pPr>
            <a:lvl6pPr marL="2514600" indent="-228600" eaLnBrk="0" fontAlgn="base" hangingPunct="0">
              <a:spcBef>
                <a:spcPct val="0"/>
              </a:spcBef>
              <a:spcAft>
                <a:spcPct val="0"/>
              </a:spcAft>
              <a:defRPr sz="2400">
                <a:solidFill>
                  <a:schemeClr val="tx1"/>
                </a:solidFill>
                <a:latin typeface="Times" pitchFamily="18" charset="0"/>
                <a:cs typeface="Arial" pitchFamily="34" charset="0"/>
              </a:defRPr>
            </a:lvl6pPr>
            <a:lvl7pPr marL="2971800" indent="-228600" eaLnBrk="0" fontAlgn="base" hangingPunct="0">
              <a:spcBef>
                <a:spcPct val="0"/>
              </a:spcBef>
              <a:spcAft>
                <a:spcPct val="0"/>
              </a:spcAft>
              <a:defRPr sz="2400">
                <a:solidFill>
                  <a:schemeClr val="tx1"/>
                </a:solidFill>
                <a:latin typeface="Times" pitchFamily="18" charset="0"/>
                <a:cs typeface="Arial" pitchFamily="34" charset="0"/>
              </a:defRPr>
            </a:lvl7pPr>
            <a:lvl8pPr marL="3429000" indent="-228600" eaLnBrk="0" fontAlgn="base" hangingPunct="0">
              <a:spcBef>
                <a:spcPct val="0"/>
              </a:spcBef>
              <a:spcAft>
                <a:spcPct val="0"/>
              </a:spcAft>
              <a:defRPr sz="2400">
                <a:solidFill>
                  <a:schemeClr val="tx1"/>
                </a:solidFill>
                <a:latin typeface="Times" pitchFamily="18" charset="0"/>
                <a:cs typeface="Arial" pitchFamily="34" charset="0"/>
              </a:defRPr>
            </a:lvl8pPr>
            <a:lvl9pPr marL="3886200" indent="-228600" eaLnBrk="0" fontAlgn="base" hangingPunct="0">
              <a:spcBef>
                <a:spcPct val="0"/>
              </a:spcBef>
              <a:spcAft>
                <a:spcPct val="0"/>
              </a:spcAft>
              <a:defRPr sz="2400">
                <a:solidFill>
                  <a:schemeClr val="tx1"/>
                </a:solidFill>
                <a:latin typeface="Times" pitchFamily="18" charset="0"/>
                <a:cs typeface="Arial" pitchFamily="34" charset="0"/>
              </a:defRPr>
            </a:lvl9pPr>
          </a:lstStyle>
          <a:p>
            <a:pPr algn="ctr" eaLnBrk="1" hangingPunct="1"/>
            <a:r>
              <a:rPr lang="en-GB" altLang="en-US" sz="4400" b="1">
                <a:solidFill>
                  <a:srgbClr val="1266AE"/>
                </a:solidFill>
                <a:latin typeface="Arial Black" pitchFamily="34" charset="0"/>
                <a:cs typeface="Geneva"/>
              </a:rPr>
              <a:t>Scottish Water</a:t>
            </a:r>
          </a:p>
          <a:p>
            <a:pPr algn="ctr" eaLnBrk="1" hangingPunct="1"/>
            <a:endParaRPr lang="en-GB" altLang="en-US" sz="4400" b="1">
              <a:solidFill>
                <a:srgbClr val="1266AE"/>
              </a:solidFill>
              <a:latin typeface="Arial Black" pitchFamily="34" charset="0"/>
              <a:cs typeface="Geneva"/>
            </a:endParaRPr>
          </a:p>
          <a:p>
            <a:pPr algn="ctr" eaLnBrk="1" hangingPunct="1"/>
            <a:r>
              <a:rPr lang="en-GB" altLang="en-US" sz="4400" b="1">
                <a:solidFill>
                  <a:srgbClr val="1266AE"/>
                </a:solidFill>
                <a:latin typeface="Arial Black" pitchFamily="34" charset="0"/>
                <a:cs typeface="Geneva"/>
              </a:rPr>
              <a:t>Route to Net Zero Fleet</a:t>
            </a:r>
          </a:p>
        </p:txBody>
      </p:sp>
      <p:sp>
        <p:nvSpPr>
          <p:cNvPr id="4" name="TextBox 3">
            <a:extLst>
              <a:ext uri="{FF2B5EF4-FFF2-40B4-BE49-F238E27FC236}">
                <a16:creationId xmlns:a16="http://schemas.microsoft.com/office/drawing/2014/main" id="{EA59109E-7A9F-4B28-9A09-048E4CF97CCB}"/>
              </a:ext>
            </a:extLst>
          </p:cNvPr>
          <p:cNvSpPr txBox="1"/>
          <p:nvPr/>
        </p:nvSpPr>
        <p:spPr>
          <a:xfrm>
            <a:off x="-3172" y="4535905"/>
            <a:ext cx="3552488" cy="908464"/>
          </a:xfrm>
          <a:prstGeom prst="rect">
            <a:avLst/>
          </a:prstGeom>
          <a:solidFill>
            <a:srgbClr val="002060">
              <a:alpha val="50000"/>
            </a:srgbClr>
          </a:solidFill>
        </p:spPr>
        <p:txBody>
          <a:bodyPr wrap="square" lIns="91429" tIns="45715" rIns="91429" bIns="45715" rtlCol="0" anchor="ctr" anchorCtr="0">
            <a:noAutofit/>
          </a:bodyPr>
          <a:lstStyle/>
          <a:p>
            <a:r>
              <a:rPr lang="en-GB" sz="2000" b="1">
                <a:solidFill>
                  <a:schemeClr val="bg1"/>
                </a:solidFill>
                <a:latin typeface="Arial"/>
                <a:ea typeface="Geneva"/>
                <a:cs typeface="Arial"/>
              </a:rPr>
              <a:t>Elaine Pringle</a:t>
            </a:r>
          </a:p>
          <a:p>
            <a:r>
              <a:rPr lang="en-GB" sz="2000" b="1">
                <a:solidFill>
                  <a:schemeClr val="bg1"/>
                </a:solidFill>
                <a:latin typeface="Arial"/>
                <a:ea typeface="Geneva"/>
                <a:cs typeface="Arial"/>
              </a:rPr>
              <a:t>Fleet Manager</a:t>
            </a:r>
            <a:endParaRPr lang="en-GB" b="1">
              <a:solidFill>
                <a:schemeClr val="bg1"/>
              </a:solidFill>
              <a:latin typeface="Arial"/>
              <a:ea typeface="Geneva"/>
              <a:cs typeface="Arial"/>
            </a:endParaRPr>
          </a:p>
        </p:txBody>
      </p:sp>
    </p:spTree>
    <p:extLst>
      <p:ext uri="{BB962C8B-B14F-4D97-AF65-F5344CB8AC3E}">
        <p14:creationId xmlns:p14="http://schemas.microsoft.com/office/powerpoint/2010/main" val="3182137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9DD304A-61F3-4DB2-88C2-3E8F8A09C34E}"/>
              </a:ext>
            </a:extLst>
          </p:cNvPr>
          <p:cNvSpPr>
            <a:spLocks noGrp="1"/>
          </p:cNvSpPr>
          <p:nvPr>
            <p:ph idx="1"/>
          </p:nvPr>
        </p:nvSpPr>
        <p:spPr>
          <a:xfrm>
            <a:off x="719399" y="1473352"/>
            <a:ext cx="11028463" cy="2536586"/>
          </a:xfrm>
        </p:spPr>
        <p:txBody>
          <a:bodyPr vert="horz" lIns="0" tIns="0" rIns="0" bIns="0" rtlCol="0" anchor="t">
            <a:noAutofit/>
          </a:bodyPr>
          <a:lstStyle/>
          <a:p>
            <a:endParaRPr lang="en-GB"/>
          </a:p>
          <a:p>
            <a:pPr marL="342900" indent="-342900">
              <a:buChar char="•"/>
            </a:pPr>
            <a:r>
              <a:rPr lang="en-GB"/>
              <a:t>We are recording the webinar today, so to ensure continuity, attendees will be </a:t>
            </a:r>
            <a:r>
              <a:rPr lang="en-GB" b="1"/>
              <a:t>muted</a:t>
            </a:r>
            <a:r>
              <a:rPr lang="en-GB"/>
              <a:t>, but if you have a question, please use the questions panel to ask questions as we go through the webinar.</a:t>
            </a:r>
          </a:p>
          <a:p>
            <a:pPr marL="342900" indent="-342900">
              <a:buChar char="•"/>
            </a:pPr>
            <a:endParaRPr lang="en-GB"/>
          </a:p>
          <a:p>
            <a:pPr marL="342900" indent="-342900">
              <a:buChar char="•"/>
            </a:pPr>
            <a:endParaRPr lang="en-GB"/>
          </a:p>
          <a:p>
            <a:pPr marL="342900" indent="-342900">
              <a:buChar char="•"/>
            </a:pPr>
            <a:endParaRPr lang="en-GB"/>
          </a:p>
          <a:p>
            <a:pPr marL="342900" indent="-342900">
              <a:buChar char="•"/>
            </a:pPr>
            <a:r>
              <a:rPr lang="en-GB"/>
              <a:t>This can be done by the process shown here;</a:t>
            </a:r>
          </a:p>
          <a:p>
            <a:endParaRPr lang="en-GB"/>
          </a:p>
        </p:txBody>
      </p:sp>
      <p:sp>
        <p:nvSpPr>
          <p:cNvPr id="5" name="Title 4">
            <a:extLst>
              <a:ext uri="{FF2B5EF4-FFF2-40B4-BE49-F238E27FC236}">
                <a16:creationId xmlns:a16="http://schemas.microsoft.com/office/drawing/2014/main" id="{FDAE7D02-476A-6B4B-8043-17B915F42962}"/>
              </a:ext>
            </a:extLst>
          </p:cNvPr>
          <p:cNvSpPr>
            <a:spLocks noGrp="1"/>
          </p:cNvSpPr>
          <p:nvPr>
            <p:ph type="title"/>
          </p:nvPr>
        </p:nvSpPr>
        <p:spPr/>
        <p:txBody>
          <a:bodyPr/>
          <a:lstStyle/>
          <a:p>
            <a:r>
              <a:rPr lang="en-US"/>
              <a:t>Webinar housekeeping</a:t>
            </a:r>
          </a:p>
        </p:txBody>
      </p:sp>
      <p:pic>
        <p:nvPicPr>
          <p:cNvPr id="2" name="Picture Placeholder 1" descr="Graphical user interface, text, application&#10;&#10;Description automatically generated">
            <a:extLst>
              <a:ext uri="{FF2B5EF4-FFF2-40B4-BE49-F238E27FC236}">
                <a16:creationId xmlns:a16="http://schemas.microsoft.com/office/drawing/2014/main" id="{65AFDFDD-76E7-4F92-924A-F6799A22A430}"/>
              </a:ext>
            </a:extLst>
          </p:cNvPr>
          <p:cNvPicPr>
            <a:picLocks noGrp="1" noChangeAspect="1"/>
          </p:cNvPicPr>
          <p:nvPr>
            <p:ph type="pic" sz="quarter" idx="13"/>
          </p:nvPr>
        </p:nvPicPr>
        <p:blipFill>
          <a:blip r:embed="rId2"/>
          <a:srcRect l="370" r="370"/>
          <a:stretch>
            <a:fillRect/>
          </a:stretch>
        </p:blipFill>
        <p:spPr>
          <a:xfrm>
            <a:off x="7444153" y="2685846"/>
            <a:ext cx="4077027" cy="1794975"/>
          </a:xfrm>
          <a:prstGeom prst="rect">
            <a:avLst/>
          </a:prstGeom>
          <a:ln>
            <a:noFill/>
          </a:ln>
          <a:effectLst>
            <a:outerShdw blurRad="292100" dist="139700" dir="2700000" algn="tl" rotWithShape="0">
              <a:srgbClr val="333333">
                <a:alpha val="65000"/>
              </a:srgbClr>
            </a:outerShdw>
          </a:effectLst>
        </p:spPr>
      </p:pic>
      <p:sp>
        <p:nvSpPr>
          <p:cNvPr id="4" name="TextBox 3">
            <a:extLst>
              <a:ext uri="{FF2B5EF4-FFF2-40B4-BE49-F238E27FC236}">
                <a16:creationId xmlns:a16="http://schemas.microsoft.com/office/drawing/2014/main" id="{EF4EDADE-B7B7-43CA-A641-15699E282252}"/>
              </a:ext>
            </a:extLst>
          </p:cNvPr>
          <p:cNvSpPr txBox="1"/>
          <p:nvPr/>
        </p:nvSpPr>
        <p:spPr>
          <a:xfrm>
            <a:off x="652501" y="4267517"/>
            <a:ext cx="10590002" cy="2677656"/>
          </a:xfrm>
          <a:prstGeom prst="rect">
            <a:avLst/>
          </a:prstGeom>
          <a:noFill/>
        </p:spPr>
        <p:txBody>
          <a:bodyPr wrap="square" rtlCol="0">
            <a:spAutoFit/>
          </a:bodyPr>
          <a:lstStyle/>
          <a:p>
            <a:pPr marL="342900" indent="-342900">
              <a:buChar char="•"/>
            </a:pPr>
            <a:endParaRPr lang="en-GB" sz="2400"/>
          </a:p>
          <a:p>
            <a:pPr marL="342900" indent="-342900">
              <a:buFont typeface="Arial" panose="020B0604020202020204" pitchFamily="34" charset="0"/>
              <a:buChar char="•"/>
            </a:pPr>
            <a:r>
              <a:rPr lang="en-GB" sz="2400"/>
              <a:t>We are monitoring the questions box and will answer questions at the end if we have time or by email after the event if we don’t.</a:t>
            </a:r>
          </a:p>
          <a:p>
            <a:pPr marL="342900" indent="-342900">
              <a:buFont typeface="Arial" panose="020B0604020202020204" pitchFamily="34" charset="0"/>
              <a:buChar char="•"/>
            </a:pPr>
            <a:endParaRPr lang="en-GB" sz="2400"/>
          </a:p>
          <a:p>
            <a:pPr marL="342900" indent="-342900">
              <a:buFont typeface="Arial" panose="020B0604020202020204" pitchFamily="34" charset="0"/>
              <a:buChar char="•"/>
            </a:pPr>
            <a:r>
              <a:rPr lang="en-GB" sz="2400"/>
              <a:t>Please also use the questions box to flag up any technical issues such as sound and image quality; we will do our best to resolve them.</a:t>
            </a:r>
          </a:p>
          <a:p>
            <a:endParaRPr lang="en-GB" sz="2400"/>
          </a:p>
        </p:txBody>
      </p:sp>
    </p:spTree>
    <p:extLst>
      <p:ext uri="{BB962C8B-B14F-4D97-AF65-F5344CB8AC3E}">
        <p14:creationId xmlns:p14="http://schemas.microsoft.com/office/powerpoint/2010/main" val="2978437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58B4C09-67A7-44B9-A2EF-139A537219A5}"/>
              </a:ext>
            </a:extLst>
          </p:cNvPr>
          <p:cNvSpPr/>
          <p:nvPr/>
        </p:nvSpPr>
        <p:spPr>
          <a:xfrm>
            <a:off x="0" y="5686097"/>
            <a:ext cx="12192000" cy="11718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37543184-957C-4DFD-9036-8D9B54F1A6F1}"/>
              </a:ext>
            </a:extLst>
          </p:cNvPr>
          <p:cNvSpPr txBox="1"/>
          <p:nvPr/>
        </p:nvSpPr>
        <p:spPr>
          <a:xfrm>
            <a:off x="535783" y="1340769"/>
            <a:ext cx="7518400" cy="1804479"/>
          </a:xfrm>
          <a:prstGeom prst="rect">
            <a:avLst/>
          </a:prstGeom>
          <a:ln>
            <a:solidFill>
              <a:schemeClr val="accent5">
                <a:lumMod val="50000"/>
              </a:schemeClr>
            </a:solidFill>
          </a:ln>
        </p:spPr>
        <p:txBody>
          <a:bodyPr vert="horz" wrap="square" lIns="108000" tIns="80148" rIns="0" bIns="0" rtlCol="0" anchor="t">
            <a:spAutoFit/>
          </a:bodyPr>
          <a:lstStyle>
            <a:defPPr>
              <a:defRPr lang="en-US"/>
            </a:defPPr>
            <a:lvl1pPr marL="8890" marR="3175" defTabSz="640936">
              <a:lnSpc>
                <a:spcPts val="2812"/>
              </a:lnSpc>
              <a:spcBef>
                <a:spcPts val="633"/>
              </a:spcBef>
              <a:defRPr sz="2800" spc="-84">
                <a:solidFill>
                  <a:srgbClr val="0067B2"/>
                </a:solidFill>
                <a:latin typeface="Arial MT Md"/>
                <a:cs typeface="Avenir LT Std 65 Medium"/>
              </a:defRPr>
            </a:lvl1pPr>
          </a:lstStyle>
          <a:p>
            <a:pPr>
              <a:lnSpc>
                <a:spcPct val="100000"/>
              </a:lnSpc>
              <a:spcBef>
                <a:spcPts val="0"/>
              </a:spcBef>
            </a:pPr>
            <a:r>
              <a:rPr lang="en-US" sz="1400" b="1">
                <a:solidFill>
                  <a:srgbClr val="002060"/>
                </a:solidFill>
                <a:latin typeface="Arial"/>
                <a:ea typeface="Geneva"/>
                <a:cs typeface="Arial"/>
              </a:rPr>
              <a:t>Scottish Government: </a:t>
            </a:r>
            <a:r>
              <a:rPr lang="en-US" sz="1400">
                <a:solidFill>
                  <a:srgbClr val="002060"/>
                </a:solidFill>
                <a:latin typeface="Arial"/>
                <a:ea typeface="Geneva"/>
                <a:cs typeface="Arial"/>
              </a:rPr>
              <a:t>Programme for Scotland</a:t>
            </a:r>
            <a:r>
              <a:rPr lang="en-US" sz="1400" b="1">
                <a:solidFill>
                  <a:srgbClr val="002060"/>
                </a:solidFill>
                <a:latin typeface="Arial"/>
                <a:ea typeface="Geneva"/>
                <a:cs typeface="Arial"/>
              </a:rPr>
              <a:t> </a:t>
            </a:r>
          </a:p>
          <a:p>
            <a:pPr>
              <a:lnSpc>
                <a:spcPct val="100000"/>
              </a:lnSpc>
              <a:spcBef>
                <a:spcPts val="0"/>
              </a:spcBef>
            </a:pPr>
            <a:endParaRPr lang="en-US" sz="1400">
              <a:solidFill>
                <a:srgbClr val="002060"/>
              </a:solidFill>
              <a:latin typeface="Arial"/>
              <a:ea typeface="Geneva"/>
              <a:cs typeface="Arial"/>
            </a:endParaRPr>
          </a:p>
          <a:p>
            <a:pPr>
              <a:lnSpc>
                <a:spcPct val="100000"/>
              </a:lnSpc>
              <a:spcBef>
                <a:spcPts val="0"/>
              </a:spcBef>
            </a:pPr>
            <a:r>
              <a:rPr lang="en-GB" sz="1400" i="1">
                <a:solidFill>
                  <a:srgbClr val="002060"/>
                </a:solidFill>
                <a:latin typeface="Arial"/>
                <a:ea typeface="Geneva"/>
                <a:cs typeface="Arial"/>
              </a:rPr>
              <a:t>Public sector fleets will phase out the need for:</a:t>
            </a:r>
          </a:p>
          <a:p>
            <a:pPr>
              <a:lnSpc>
                <a:spcPct val="100000"/>
              </a:lnSpc>
              <a:spcBef>
                <a:spcPts val="0"/>
              </a:spcBef>
            </a:pPr>
            <a:endParaRPr lang="en-GB" sz="1400" i="1">
              <a:solidFill>
                <a:srgbClr val="002060"/>
              </a:solidFill>
              <a:latin typeface="Arial"/>
              <a:ea typeface="Geneva"/>
              <a:cs typeface="Arial"/>
            </a:endParaRPr>
          </a:p>
          <a:p>
            <a:pPr marL="351790" indent="-342900">
              <a:lnSpc>
                <a:spcPct val="100000"/>
              </a:lnSpc>
              <a:spcBef>
                <a:spcPts val="0"/>
              </a:spcBef>
              <a:buAutoNum type="arabicPeriod"/>
            </a:pPr>
            <a:r>
              <a:rPr lang="en-GB" sz="1400">
                <a:solidFill>
                  <a:srgbClr val="002060"/>
                </a:solidFill>
                <a:latin typeface="Arial"/>
                <a:ea typeface="Geneva"/>
                <a:cs typeface="Arial"/>
              </a:rPr>
              <a:t> Petrol or diesel cars </a:t>
            </a:r>
            <a:r>
              <a:rPr lang="en-GB" sz="1400" b="1" u="sng">
                <a:solidFill>
                  <a:srgbClr val="002060"/>
                </a:solidFill>
                <a:latin typeface="Arial"/>
                <a:ea typeface="Geneva"/>
                <a:cs typeface="Arial"/>
              </a:rPr>
              <a:t>by</a:t>
            </a:r>
            <a:r>
              <a:rPr lang="en-GB" sz="1400">
                <a:solidFill>
                  <a:srgbClr val="002060"/>
                </a:solidFill>
                <a:latin typeface="Arial"/>
                <a:ea typeface="Geneva"/>
                <a:cs typeface="Arial"/>
              </a:rPr>
              <a:t> 2025</a:t>
            </a:r>
          </a:p>
          <a:p>
            <a:pPr marL="351790" indent="-342900">
              <a:lnSpc>
                <a:spcPct val="100000"/>
              </a:lnSpc>
              <a:spcBef>
                <a:spcPts val="0"/>
              </a:spcBef>
              <a:buAutoNum type="arabicPeriod"/>
            </a:pPr>
            <a:r>
              <a:rPr lang="en-GB" sz="1400">
                <a:solidFill>
                  <a:srgbClr val="002060"/>
                </a:solidFill>
                <a:latin typeface="Arial"/>
                <a:ea typeface="Geneva"/>
                <a:cs typeface="Arial"/>
              </a:rPr>
              <a:t> </a:t>
            </a:r>
            <a:r>
              <a:rPr lang="en-GB" sz="1400" b="1" u="sng">
                <a:solidFill>
                  <a:srgbClr val="002060"/>
                </a:solidFill>
                <a:latin typeface="Arial"/>
                <a:ea typeface="Geneva"/>
                <a:cs typeface="Arial"/>
              </a:rPr>
              <a:t>New</a:t>
            </a:r>
            <a:r>
              <a:rPr lang="en-GB" sz="1400">
                <a:solidFill>
                  <a:srgbClr val="002060"/>
                </a:solidFill>
                <a:latin typeface="Arial"/>
                <a:ea typeface="Geneva"/>
                <a:cs typeface="Arial"/>
              </a:rPr>
              <a:t> petrol or diesel light commercial vehicles </a:t>
            </a:r>
            <a:r>
              <a:rPr lang="en-GB" sz="1400" b="1" u="sng">
                <a:solidFill>
                  <a:srgbClr val="002060"/>
                </a:solidFill>
                <a:latin typeface="Arial"/>
                <a:ea typeface="Geneva"/>
                <a:cs typeface="Arial"/>
              </a:rPr>
              <a:t>from</a:t>
            </a:r>
            <a:r>
              <a:rPr lang="en-GB" sz="1400">
                <a:solidFill>
                  <a:srgbClr val="002060"/>
                </a:solidFill>
                <a:latin typeface="Arial"/>
                <a:ea typeface="Geneva"/>
                <a:cs typeface="Arial"/>
              </a:rPr>
              <a:t> 2025</a:t>
            </a:r>
          </a:p>
          <a:p>
            <a:pPr marL="351790" indent="-342900">
              <a:lnSpc>
                <a:spcPct val="100000"/>
              </a:lnSpc>
              <a:spcBef>
                <a:spcPts val="0"/>
              </a:spcBef>
              <a:buFont typeface="+mj-lt"/>
              <a:buAutoNum type="arabicPeriod" startAt="3"/>
            </a:pPr>
            <a:r>
              <a:rPr lang="en-GB" sz="1400">
                <a:solidFill>
                  <a:srgbClr val="002060"/>
                </a:solidFill>
                <a:latin typeface="Arial"/>
                <a:ea typeface="Geneva"/>
                <a:cs typeface="Arial"/>
              </a:rPr>
              <a:t> </a:t>
            </a:r>
            <a:r>
              <a:rPr lang="en-GB" sz="1400" b="1" u="sng">
                <a:solidFill>
                  <a:srgbClr val="002060"/>
                </a:solidFill>
                <a:latin typeface="Arial"/>
                <a:ea typeface="Geneva"/>
                <a:cs typeface="Arial"/>
              </a:rPr>
              <a:t>New</a:t>
            </a:r>
            <a:r>
              <a:rPr lang="en-GB" sz="1400">
                <a:solidFill>
                  <a:srgbClr val="002060"/>
                </a:solidFill>
                <a:latin typeface="Arial"/>
                <a:ea typeface="Geneva"/>
                <a:cs typeface="Arial"/>
              </a:rPr>
              <a:t> petrol or diesel commercial vehicles </a:t>
            </a:r>
            <a:r>
              <a:rPr lang="en-GB" sz="1400" b="1" u="sng">
                <a:solidFill>
                  <a:srgbClr val="002060"/>
                </a:solidFill>
                <a:latin typeface="Arial"/>
                <a:ea typeface="Geneva"/>
                <a:cs typeface="Arial"/>
              </a:rPr>
              <a:t>from </a:t>
            </a:r>
            <a:r>
              <a:rPr lang="en-GB" sz="1400">
                <a:solidFill>
                  <a:srgbClr val="002060"/>
                </a:solidFill>
                <a:latin typeface="Arial"/>
                <a:ea typeface="Geneva"/>
                <a:cs typeface="Arial"/>
              </a:rPr>
              <a:t>2030</a:t>
            </a:r>
          </a:p>
          <a:p>
            <a:pPr marL="351790" indent="-342900">
              <a:lnSpc>
                <a:spcPct val="100000"/>
              </a:lnSpc>
              <a:spcBef>
                <a:spcPts val="0"/>
              </a:spcBef>
              <a:buFont typeface="+mj-lt"/>
              <a:buAutoNum type="arabicPeriod" startAt="3"/>
            </a:pPr>
            <a:endParaRPr lang="en-GB" sz="1400">
              <a:solidFill>
                <a:srgbClr val="002060"/>
              </a:solidFill>
              <a:latin typeface="Arial"/>
              <a:ea typeface="Geneva"/>
              <a:cs typeface="Arial"/>
            </a:endParaRPr>
          </a:p>
        </p:txBody>
      </p:sp>
      <p:pic>
        <p:nvPicPr>
          <p:cNvPr id="9" name="Picture 3">
            <a:extLst>
              <a:ext uri="{FF2B5EF4-FFF2-40B4-BE49-F238E27FC236}">
                <a16:creationId xmlns:a16="http://schemas.microsoft.com/office/drawing/2014/main" id="{CB8E928B-9456-4CD9-BF73-03EB1E486CFE}"/>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3357" t="15069" r="34278"/>
          <a:stretch/>
        </p:blipFill>
        <p:spPr bwMode="auto">
          <a:xfrm>
            <a:off x="8806831" y="1340769"/>
            <a:ext cx="1505936" cy="18044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9">
            <a:extLst>
              <a:ext uri="{FF2B5EF4-FFF2-40B4-BE49-F238E27FC236}">
                <a16:creationId xmlns:a16="http://schemas.microsoft.com/office/drawing/2014/main" id="{6AF24441-9B74-4878-97B6-15A809DBB856}"/>
              </a:ext>
            </a:extLst>
          </p:cNvPr>
          <p:cNvPicPr>
            <a:picLocks noChangeAspect="1"/>
          </p:cNvPicPr>
          <p:nvPr/>
        </p:nvPicPr>
        <p:blipFill>
          <a:blip r:embed="rId4"/>
          <a:stretch>
            <a:fillRect/>
          </a:stretch>
        </p:blipFill>
        <p:spPr>
          <a:xfrm>
            <a:off x="8806831" y="3429000"/>
            <a:ext cx="2004160" cy="1373593"/>
          </a:xfrm>
          <a:prstGeom prst="rect">
            <a:avLst/>
          </a:prstGeom>
        </p:spPr>
      </p:pic>
      <p:sp>
        <p:nvSpPr>
          <p:cNvPr id="11" name="TextBox 10">
            <a:extLst>
              <a:ext uri="{FF2B5EF4-FFF2-40B4-BE49-F238E27FC236}">
                <a16:creationId xmlns:a16="http://schemas.microsoft.com/office/drawing/2014/main" id="{B7486D3C-E5C6-4645-AA48-12C68745F79C}"/>
              </a:ext>
            </a:extLst>
          </p:cNvPr>
          <p:cNvSpPr txBox="1"/>
          <p:nvPr/>
        </p:nvSpPr>
        <p:spPr>
          <a:xfrm>
            <a:off x="535782" y="3432596"/>
            <a:ext cx="7518401" cy="1373592"/>
          </a:xfrm>
          <a:prstGeom prst="rect">
            <a:avLst/>
          </a:prstGeom>
          <a:ln>
            <a:solidFill>
              <a:srgbClr val="7030A0"/>
            </a:solidFill>
          </a:ln>
        </p:spPr>
        <p:txBody>
          <a:bodyPr vert="horz" wrap="square" lIns="108000" tIns="80148" rIns="0" bIns="0" rtlCol="0" anchor="t">
            <a:spAutoFit/>
          </a:bodyPr>
          <a:lstStyle>
            <a:defPPr>
              <a:defRPr lang="en-US"/>
            </a:defPPr>
            <a:lvl1pPr marL="8890" marR="3175" defTabSz="640936">
              <a:lnSpc>
                <a:spcPts val="2812"/>
              </a:lnSpc>
              <a:spcBef>
                <a:spcPts val="633"/>
              </a:spcBef>
              <a:defRPr sz="2800" spc="-84">
                <a:solidFill>
                  <a:srgbClr val="0067B2"/>
                </a:solidFill>
                <a:latin typeface="Arial MT Md"/>
                <a:cs typeface="Avenir LT Std 65 Medium"/>
              </a:defRPr>
            </a:lvl1pPr>
          </a:lstStyle>
          <a:p>
            <a:pPr>
              <a:lnSpc>
                <a:spcPct val="100000"/>
              </a:lnSpc>
              <a:spcBef>
                <a:spcPts val="0"/>
              </a:spcBef>
            </a:pPr>
            <a:r>
              <a:rPr lang="en-US" sz="1400" b="1">
                <a:solidFill>
                  <a:srgbClr val="002060"/>
                </a:solidFill>
                <a:latin typeface="Arial"/>
                <a:ea typeface="Geneva"/>
                <a:cs typeface="Arial"/>
              </a:rPr>
              <a:t>Scottish Water Net Zero Emissions </a:t>
            </a:r>
            <a:r>
              <a:rPr lang="en-US" sz="1400" b="1" err="1">
                <a:solidFill>
                  <a:srgbClr val="002060"/>
                </a:solidFill>
                <a:latin typeface="Arial"/>
                <a:ea typeface="Geneva"/>
                <a:cs typeface="Arial"/>
              </a:rPr>
              <a:t>Routemap</a:t>
            </a:r>
            <a:r>
              <a:rPr lang="en-US" sz="1400" b="1">
                <a:solidFill>
                  <a:srgbClr val="002060"/>
                </a:solidFill>
                <a:latin typeface="Arial"/>
                <a:ea typeface="Geneva"/>
                <a:cs typeface="Arial"/>
              </a:rPr>
              <a:t> </a:t>
            </a:r>
          </a:p>
          <a:p>
            <a:pPr>
              <a:lnSpc>
                <a:spcPct val="100000"/>
              </a:lnSpc>
              <a:spcBef>
                <a:spcPts val="0"/>
              </a:spcBef>
            </a:pPr>
            <a:endParaRPr lang="en-GB" sz="1400">
              <a:solidFill>
                <a:srgbClr val="002060"/>
              </a:solidFill>
              <a:latin typeface="Arial"/>
              <a:ea typeface="Geneva"/>
              <a:cs typeface="Arial"/>
            </a:endParaRPr>
          </a:p>
          <a:p>
            <a:pPr>
              <a:lnSpc>
                <a:spcPct val="100000"/>
              </a:lnSpc>
              <a:spcBef>
                <a:spcPts val="0"/>
              </a:spcBef>
            </a:pPr>
            <a:r>
              <a:rPr lang="en-GB" sz="1400" b="1" i="1">
                <a:solidFill>
                  <a:srgbClr val="002060"/>
                </a:solidFill>
                <a:latin typeface="Arial"/>
                <a:ea typeface="Geneva"/>
                <a:cs typeface="Arial"/>
              </a:rPr>
              <a:t>Up to 2025</a:t>
            </a:r>
            <a:r>
              <a:rPr lang="en-GB" sz="1400">
                <a:solidFill>
                  <a:srgbClr val="002060"/>
                </a:solidFill>
                <a:latin typeface="Arial"/>
                <a:ea typeface="Geneva"/>
                <a:cs typeface="Arial"/>
              </a:rPr>
              <a:t>:  Identify, assess and implement new zero emission vehicle technology as it becomes available</a:t>
            </a:r>
          </a:p>
          <a:p>
            <a:pPr>
              <a:lnSpc>
                <a:spcPct val="100000"/>
              </a:lnSpc>
              <a:spcBef>
                <a:spcPts val="0"/>
              </a:spcBef>
            </a:pPr>
            <a:endParaRPr lang="en-GB" sz="1400">
              <a:solidFill>
                <a:srgbClr val="002060"/>
              </a:solidFill>
              <a:latin typeface="Arial"/>
              <a:ea typeface="Geneva"/>
              <a:cs typeface="Arial"/>
            </a:endParaRPr>
          </a:p>
          <a:p>
            <a:pPr>
              <a:lnSpc>
                <a:spcPct val="100000"/>
              </a:lnSpc>
              <a:spcBef>
                <a:spcPts val="0"/>
              </a:spcBef>
            </a:pPr>
            <a:r>
              <a:rPr lang="en-GB" sz="1400" b="1" i="1">
                <a:solidFill>
                  <a:srgbClr val="002060"/>
                </a:solidFill>
                <a:latin typeface="Arial"/>
                <a:cs typeface="Arial"/>
              </a:rPr>
              <a:t>Up to 2030</a:t>
            </a:r>
            <a:r>
              <a:rPr lang="en-GB" sz="1400">
                <a:solidFill>
                  <a:srgbClr val="002060"/>
                </a:solidFill>
                <a:latin typeface="Arial"/>
                <a:cs typeface="Arial"/>
              </a:rPr>
              <a:t>: T</a:t>
            </a:r>
            <a:r>
              <a:rPr lang="en-GB" sz="1400">
                <a:solidFill>
                  <a:srgbClr val="002060"/>
                </a:solidFill>
                <a:latin typeface="Arial"/>
                <a:ea typeface="Geneva"/>
                <a:cs typeface="Arial"/>
              </a:rPr>
              <a:t>ransition to zero emission fleet</a:t>
            </a:r>
          </a:p>
          <a:p>
            <a:pPr>
              <a:lnSpc>
                <a:spcPct val="100000"/>
              </a:lnSpc>
              <a:spcBef>
                <a:spcPts val="0"/>
              </a:spcBef>
            </a:pPr>
            <a:endParaRPr lang="en-GB" sz="1400">
              <a:solidFill>
                <a:srgbClr val="002060"/>
              </a:solidFill>
              <a:latin typeface="Arial"/>
              <a:ea typeface="Geneva"/>
              <a:cs typeface="Arial"/>
            </a:endParaRPr>
          </a:p>
        </p:txBody>
      </p:sp>
      <p:sp>
        <p:nvSpPr>
          <p:cNvPr id="12" name="TextBox 11">
            <a:extLst>
              <a:ext uri="{FF2B5EF4-FFF2-40B4-BE49-F238E27FC236}">
                <a16:creationId xmlns:a16="http://schemas.microsoft.com/office/drawing/2014/main" id="{F4CBD235-A471-4FC6-B513-B7B1752B8450}"/>
              </a:ext>
            </a:extLst>
          </p:cNvPr>
          <p:cNvSpPr txBox="1"/>
          <p:nvPr/>
        </p:nvSpPr>
        <p:spPr>
          <a:xfrm>
            <a:off x="535783" y="5090251"/>
            <a:ext cx="7518400" cy="942705"/>
          </a:xfrm>
          <a:prstGeom prst="rect">
            <a:avLst/>
          </a:prstGeom>
          <a:ln>
            <a:solidFill>
              <a:srgbClr val="002060"/>
            </a:solidFill>
          </a:ln>
        </p:spPr>
        <p:txBody>
          <a:bodyPr vert="horz" wrap="square" lIns="108000" tIns="80148" rIns="0" bIns="0" rtlCol="0" anchor="t">
            <a:spAutoFit/>
          </a:bodyPr>
          <a:lstStyle>
            <a:defPPr>
              <a:defRPr lang="en-US"/>
            </a:defPPr>
            <a:lvl1pPr marL="8890" marR="3175" defTabSz="640936">
              <a:lnSpc>
                <a:spcPts val="2812"/>
              </a:lnSpc>
              <a:spcBef>
                <a:spcPts val="633"/>
              </a:spcBef>
              <a:defRPr sz="2800" spc="-84">
                <a:solidFill>
                  <a:srgbClr val="0067B2"/>
                </a:solidFill>
                <a:latin typeface="Arial MT Md"/>
                <a:cs typeface="Avenir LT Std 65 Medium"/>
              </a:defRPr>
            </a:lvl1pPr>
          </a:lstStyle>
          <a:p>
            <a:pPr>
              <a:lnSpc>
                <a:spcPct val="100000"/>
              </a:lnSpc>
              <a:spcBef>
                <a:spcPts val="0"/>
              </a:spcBef>
            </a:pPr>
            <a:r>
              <a:rPr lang="en-GB" sz="1400" b="1">
                <a:solidFill>
                  <a:srgbClr val="002060"/>
                </a:solidFill>
                <a:latin typeface="Arial"/>
                <a:ea typeface="Geneva"/>
                <a:cs typeface="Arial"/>
              </a:rPr>
              <a:t>Water Industry Commission for Scotland</a:t>
            </a:r>
          </a:p>
          <a:p>
            <a:pPr>
              <a:lnSpc>
                <a:spcPct val="100000"/>
              </a:lnSpc>
              <a:spcBef>
                <a:spcPts val="0"/>
              </a:spcBef>
            </a:pPr>
            <a:r>
              <a:rPr lang="en-GB" sz="1400">
                <a:solidFill>
                  <a:srgbClr val="002060"/>
                </a:solidFill>
                <a:latin typeface="Arial"/>
                <a:ea typeface="Geneva"/>
                <a:cs typeface="Arial"/>
              </a:rPr>
              <a:t>Scottish Water should want to be more than 40% of the way towards its 2040 net zero emissions by 2027 given that the last steps towards net zero are likely to be the most difficult</a:t>
            </a:r>
          </a:p>
          <a:p>
            <a:pPr>
              <a:lnSpc>
                <a:spcPct val="100000"/>
              </a:lnSpc>
              <a:spcBef>
                <a:spcPts val="0"/>
              </a:spcBef>
            </a:pPr>
            <a:endParaRPr lang="en-GB" sz="1400">
              <a:solidFill>
                <a:srgbClr val="002060"/>
              </a:solidFill>
              <a:latin typeface="Arial"/>
              <a:ea typeface="Geneva"/>
              <a:cs typeface="Arial"/>
            </a:endParaRPr>
          </a:p>
        </p:txBody>
      </p:sp>
      <p:pic>
        <p:nvPicPr>
          <p:cNvPr id="13" name="Picture 12">
            <a:extLst>
              <a:ext uri="{FF2B5EF4-FFF2-40B4-BE49-F238E27FC236}">
                <a16:creationId xmlns:a16="http://schemas.microsoft.com/office/drawing/2014/main" id="{AD5F56D0-7F44-4BDE-BF3C-7272C8A07E3A}"/>
              </a:ext>
            </a:extLst>
          </p:cNvPr>
          <p:cNvPicPr>
            <a:picLocks noChangeAspect="1"/>
          </p:cNvPicPr>
          <p:nvPr/>
        </p:nvPicPr>
        <p:blipFill rotWithShape="1">
          <a:blip r:embed="rId5"/>
          <a:srcRect l="56299" t="17337" r="26379" b="8005"/>
          <a:stretch/>
        </p:blipFill>
        <p:spPr>
          <a:xfrm>
            <a:off x="8806831" y="5086347"/>
            <a:ext cx="796228" cy="1158150"/>
          </a:xfrm>
          <a:prstGeom prst="rect">
            <a:avLst/>
          </a:prstGeom>
        </p:spPr>
      </p:pic>
      <p:sp>
        <p:nvSpPr>
          <p:cNvPr id="14" name="Slide Number Placeholder 1">
            <a:extLst>
              <a:ext uri="{FF2B5EF4-FFF2-40B4-BE49-F238E27FC236}">
                <a16:creationId xmlns:a16="http://schemas.microsoft.com/office/drawing/2014/main" id="{6774B941-F569-46E0-AB62-6007C6E7FFE7}"/>
              </a:ext>
            </a:extLst>
          </p:cNvPr>
          <p:cNvSpPr txBox="1">
            <a:spLocks/>
          </p:cNvSpPr>
          <p:nvPr/>
        </p:nvSpPr>
        <p:spPr>
          <a:xfrm>
            <a:off x="8737600" y="6248400"/>
            <a:ext cx="2540000" cy="457200"/>
          </a:xfrm>
          <a:prstGeom prst="rect">
            <a:avLst/>
          </a:prstGeom>
        </p:spPr>
        <p:txBody>
          <a:bodyPr lIns="91429" tIns="45715" rIns="91429" bIns="45715"/>
          <a:lstStyle>
            <a:defPPr>
              <a:defRPr lang="en-US"/>
            </a:defPPr>
            <a:lvl1pPr algn="l" rtl="0" eaLnBrk="0" fontAlgn="base" hangingPunct="0">
              <a:spcBef>
                <a:spcPct val="0"/>
              </a:spcBef>
              <a:spcAft>
                <a:spcPct val="0"/>
              </a:spcAft>
              <a:defRPr sz="2400" kern="1200">
                <a:solidFill>
                  <a:schemeClr val="tx1"/>
                </a:solidFill>
                <a:latin typeface="Times" pitchFamily="125" charset="0"/>
                <a:ea typeface="Geneva" pitchFamily="125" charset="-128"/>
                <a:cs typeface="+mn-cs"/>
              </a:defRPr>
            </a:lvl1pPr>
            <a:lvl2pPr marL="457200" algn="l" rtl="0" eaLnBrk="0" fontAlgn="base" hangingPunct="0">
              <a:spcBef>
                <a:spcPct val="0"/>
              </a:spcBef>
              <a:spcAft>
                <a:spcPct val="0"/>
              </a:spcAft>
              <a:defRPr sz="2400" kern="1200">
                <a:solidFill>
                  <a:schemeClr val="tx1"/>
                </a:solidFill>
                <a:latin typeface="Times" pitchFamily="125" charset="0"/>
                <a:ea typeface="Geneva" pitchFamily="125" charset="-128"/>
                <a:cs typeface="+mn-cs"/>
              </a:defRPr>
            </a:lvl2pPr>
            <a:lvl3pPr marL="914400" algn="l" rtl="0" eaLnBrk="0" fontAlgn="base" hangingPunct="0">
              <a:spcBef>
                <a:spcPct val="0"/>
              </a:spcBef>
              <a:spcAft>
                <a:spcPct val="0"/>
              </a:spcAft>
              <a:defRPr sz="2400" kern="1200">
                <a:solidFill>
                  <a:schemeClr val="tx1"/>
                </a:solidFill>
                <a:latin typeface="Times" pitchFamily="125" charset="0"/>
                <a:ea typeface="Geneva" pitchFamily="125" charset="-128"/>
                <a:cs typeface="+mn-cs"/>
              </a:defRPr>
            </a:lvl3pPr>
            <a:lvl4pPr marL="1371600" algn="l" rtl="0" eaLnBrk="0" fontAlgn="base" hangingPunct="0">
              <a:spcBef>
                <a:spcPct val="0"/>
              </a:spcBef>
              <a:spcAft>
                <a:spcPct val="0"/>
              </a:spcAft>
              <a:defRPr sz="2400" kern="1200">
                <a:solidFill>
                  <a:schemeClr val="tx1"/>
                </a:solidFill>
                <a:latin typeface="Times" pitchFamily="125" charset="0"/>
                <a:ea typeface="Geneva" pitchFamily="125" charset="-128"/>
                <a:cs typeface="+mn-cs"/>
              </a:defRPr>
            </a:lvl4pPr>
            <a:lvl5pPr marL="1828800" algn="l" rtl="0" eaLnBrk="0" fontAlgn="base" hangingPunct="0">
              <a:spcBef>
                <a:spcPct val="0"/>
              </a:spcBef>
              <a:spcAft>
                <a:spcPct val="0"/>
              </a:spcAft>
              <a:defRPr sz="2400" kern="1200">
                <a:solidFill>
                  <a:schemeClr val="tx1"/>
                </a:solidFill>
                <a:latin typeface="Times" pitchFamily="125" charset="0"/>
                <a:ea typeface="Geneva" pitchFamily="125" charset="-128"/>
                <a:cs typeface="+mn-cs"/>
              </a:defRPr>
            </a:lvl5pPr>
            <a:lvl6pPr marL="2286000" algn="l" defTabSz="914400" rtl="0" eaLnBrk="1" latinLnBrk="0" hangingPunct="1">
              <a:defRPr sz="2400" kern="1200">
                <a:solidFill>
                  <a:schemeClr val="tx1"/>
                </a:solidFill>
                <a:latin typeface="Times" pitchFamily="125" charset="0"/>
                <a:ea typeface="Geneva" pitchFamily="125" charset="-128"/>
                <a:cs typeface="+mn-cs"/>
              </a:defRPr>
            </a:lvl6pPr>
            <a:lvl7pPr marL="2743200" algn="l" defTabSz="914400" rtl="0" eaLnBrk="1" latinLnBrk="0" hangingPunct="1">
              <a:defRPr sz="2400" kern="1200">
                <a:solidFill>
                  <a:schemeClr val="tx1"/>
                </a:solidFill>
                <a:latin typeface="Times" pitchFamily="125" charset="0"/>
                <a:ea typeface="Geneva" pitchFamily="125" charset="-128"/>
                <a:cs typeface="+mn-cs"/>
              </a:defRPr>
            </a:lvl7pPr>
            <a:lvl8pPr marL="3200400" algn="l" defTabSz="914400" rtl="0" eaLnBrk="1" latinLnBrk="0" hangingPunct="1">
              <a:defRPr sz="2400" kern="1200">
                <a:solidFill>
                  <a:schemeClr val="tx1"/>
                </a:solidFill>
                <a:latin typeface="Times" pitchFamily="125" charset="0"/>
                <a:ea typeface="Geneva" pitchFamily="125" charset="-128"/>
                <a:cs typeface="+mn-cs"/>
              </a:defRPr>
            </a:lvl8pPr>
            <a:lvl9pPr marL="3657600" algn="l" defTabSz="914400" rtl="0" eaLnBrk="1" latinLnBrk="0" hangingPunct="1">
              <a:defRPr sz="2400" kern="1200">
                <a:solidFill>
                  <a:schemeClr val="tx1"/>
                </a:solidFill>
                <a:latin typeface="Times" pitchFamily="125" charset="0"/>
                <a:ea typeface="Geneva" pitchFamily="125" charset="-128"/>
                <a:cs typeface="+mn-cs"/>
              </a:defRPr>
            </a:lvl9pPr>
          </a:lstStyle>
          <a:p>
            <a:pPr algn="r"/>
            <a:fld id="{94525411-3536-491D-8E04-9910E98113F5}" type="slidenum">
              <a:rPr lang="en-GB" sz="1200">
                <a:solidFill>
                  <a:prstClr val="black">
                    <a:tint val="75000"/>
                  </a:prstClr>
                </a:solidFill>
                <a:latin typeface="Arial MT Md"/>
              </a:rPr>
              <a:pPr algn="r"/>
              <a:t>20</a:t>
            </a:fld>
            <a:endParaRPr lang="en-GB" sz="1200">
              <a:solidFill>
                <a:prstClr val="black">
                  <a:tint val="75000"/>
                </a:prstClr>
              </a:solidFill>
              <a:latin typeface="Arial MT Md"/>
            </a:endParaRPr>
          </a:p>
        </p:txBody>
      </p:sp>
      <p:sp>
        <p:nvSpPr>
          <p:cNvPr id="23" name="object 5">
            <a:extLst>
              <a:ext uri="{FF2B5EF4-FFF2-40B4-BE49-F238E27FC236}">
                <a16:creationId xmlns:a16="http://schemas.microsoft.com/office/drawing/2014/main" id="{E0277FDF-5A6F-405C-AEF6-7EA2063E3AE3}"/>
              </a:ext>
            </a:extLst>
          </p:cNvPr>
          <p:cNvSpPr/>
          <p:nvPr/>
        </p:nvSpPr>
        <p:spPr>
          <a:xfrm>
            <a:off x="535783" y="410766"/>
            <a:ext cx="11120437" cy="0"/>
          </a:xfrm>
          <a:custGeom>
            <a:avLst/>
            <a:gdLst/>
            <a:ahLst/>
            <a:cxnLst/>
            <a:rect l="l" t="t" r="r" b="b"/>
            <a:pathLst>
              <a:path w="11861800">
                <a:moveTo>
                  <a:pt x="0" y="0"/>
                </a:moveTo>
                <a:lnTo>
                  <a:pt x="11861800" y="0"/>
                </a:lnTo>
              </a:path>
            </a:pathLst>
          </a:custGeom>
          <a:ln w="25400">
            <a:solidFill>
              <a:schemeClr val="accent2"/>
            </a:solidFill>
          </a:ln>
        </p:spPr>
        <p:txBody>
          <a:bodyPr wrap="square" lIns="0" tIns="0" rIns="0" bIns="0" rtlCol="0"/>
          <a:lstStyle/>
          <a:p>
            <a:pPr algn="ctr" defTabSz="640409"/>
            <a:endParaRPr sz="1400" b="1">
              <a:solidFill>
                <a:srgbClr val="1F497D">
                  <a:lumMod val="60000"/>
                  <a:lumOff val="40000"/>
                </a:srgbClr>
              </a:solidFill>
              <a:latin typeface="Arial MT Md" charset="0"/>
            </a:endParaRPr>
          </a:p>
        </p:txBody>
      </p:sp>
      <p:sp>
        <p:nvSpPr>
          <p:cNvPr id="24" name="object 5">
            <a:extLst>
              <a:ext uri="{FF2B5EF4-FFF2-40B4-BE49-F238E27FC236}">
                <a16:creationId xmlns:a16="http://schemas.microsoft.com/office/drawing/2014/main" id="{25A9E11F-E9CF-4E0C-8067-6D4949A7C7CD}"/>
              </a:ext>
            </a:extLst>
          </p:cNvPr>
          <p:cNvSpPr/>
          <p:nvPr/>
        </p:nvSpPr>
        <p:spPr>
          <a:xfrm>
            <a:off x="535783" y="410766"/>
            <a:ext cx="11120437" cy="0"/>
          </a:xfrm>
          <a:custGeom>
            <a:avLst/>
            <a:gdLst/>
            <a:ahLst/>
            <a:cxnLst/>
            <a:rect l="l" t="t" r="r" b="b"/>
            <a:pathLst>
              <a:path w="11861800">
                <a:moveTo>
                  <a:pt x="0" y="0"/>
                </a:moveTo>
                <a:lnTo>
                  <a:pt x="11861800" y="0"/>
                </a:lnTo>
              </a:path>
            </a:pathLst>
          </a:custGeom>
          <a:ln w="25400">
            <a:solidFill>
              <a:schemeClr val="accent1"/>
            </a:solidFill>
          </a:ln>
        </p:spPr>
        <p:txBody>
          <a:bodyPr wrap="square" lIns="0" tIns="0" rIns="0" bIns="0" rtlCol="0"/>
          <a:lstStyle/>
          <a:p>
            <a:pPr defTabSz="640409"/>
            <a:endParaRPr>
              <a:solidFill>
                <a:srgbClr val="1F497D">
                  <a:lumMod val="60000"/>
                  <a:lumOff val="40000"/>
                </a:srgbClr>
              </a:solidFill>
              <a:ea typeface="+mn-ea"/>
              <a:cs typeface="+mn-cs"/>
            </a:endParaRPr>
          </a:p>
        </p:txBody>
      </p:sp>
      <p:sp>
        <p:nvSpPr>
          <p:cNvPr id="26" name="object 2">
            <a:extLst>
              <a:ext uri="{FF2B5EF4-FFF2-40B4-BE49-F238E27FC236}">
                <a16:creationId xmlns:a16="http://schemas.microsoft.com/office/drawing/2014/main" id="{FC02E14C-94E4-40F2-BAB7-B1BE6D3B28D9}"/>
              </a:ext>
            </a:extLst>
          </p:cNvPr>
          <p:cNvSpPr txBox="1"/>
          <p:nvPr/>
        </p:nvSpPr>
        <p:spPr>
          <a:xfrm>
            <a:off x="535783" y="350072"/>
            <a:ext cx="11511600" cy="408639"/>
          </a:xfrm>
          <a:prstGeom prst="rect">
            <a:avLst/>
          </a:prstGeom>
        </p:spPr>
        <p:txBody>
          <a:bodyPr vert="horz" wrap="square" lIns="0" tIns="80138" rIns="0" bIns="0" rtlCol="0" anchor="t">
            <a:spAutoFit/>
          </a:bodyPr>
          <a:lstStyle/>
          <a:p>
            <a:pPr marL="8255" marR="3175" defTabSz="640859">
              <a:lnSpc>
                <a:spcPts val="2812"/>
              </a:lnSpc>
              <a:spcBef>
                <a:spcPts val="0"/>
              </a:spcBef>
            </a:pPr>
            <a:r>
              <a:rPr lang="en-GB" sz="2000" b="1" spc="-84">
                <a:solidFill>
                  <a:srgbClr val="0067B2"/>
                </a:solidFill>
                <a:latin typeface="Arial MT Md"/>
                <a:ea typeface="Geneva"/>
                <a:cs typeface="Avenir LT Std 65 Medium"/>
              </a:rPr>
              <a:t>Fleet Net Zero Ambitions and Objectives</a:t>
            </a:r>
            <a:endParaRPr lang="en-GB" sz="2000" b="1" spc="-84">
              <a:solidFill>
                <a:srgbClr val="FF0000"/>
              </a:solidFill>
              <a:latin typeface="Arial MT Md"/>
              <a:ea typeface="Geneva"/>
              <a:cs typeface="Avenir LT Std 65 Medium"/>
            </a:endParaRPr>
          </a:p>
        </p:txBody>
      </p:sp>
    </p:spTree>
    <p:extLst>
      <p:ext uri="{BB962C8B-B14F-4D97-AF65-F5344CB8AC3E}">
        <p14:creationId xmlns:p14="http://schemas.microsoft.com/office/powerpoint/2010/main" val="30587283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8C85B2-4DEE-42D2-BCBB-CEF71CC373FF}"/>
              </a:ext>
            </a:extLst>
          </p:cNvPr>
          <p:cNvSpPr/>
          <p:nvPr/>
        </p:nvSpPr>
        <p:spPr>
          <a:xfrm>
            <a:off x="0" y="5686097"/>
            <a:ext cx="12192000" cy="11718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p:cNvSpPr txBox="1"/>
          <p:nvPr/>
        </p:nvSpPr>
        <p:spPr>
          <a:xfrm>
            <a:off x="531127" y="1178478"/>
            <a:ext cx="8405197" cy="5343900"/>
          </a:xfrm>
          <a:prstGeom prst="rect">
            <a:avLst/>
          </a:prstGeom>
        </p:spPr>
        <p:txBody>
          <a:bodyPr vert="horz" wrap="square" lIns="0" tIns="80138" rIns="0" bIns="0" rtlCol="0" anchor="t">
            <a:spAutoFit/>
          </a:bodyPr>
          <a:lstStyle>
            <a:defPPr>
              <a:defRPr lang="en-US"/>
            </a:defPPr>
            <a:lvl1pPr marL="8890" marR="3175" defTabSz="640936">
              <a:lnSpc>
                <a:spcPts val="2812"/>
              </a:lnSpc>
              <a:spcBef>
                <a:spcPts val="633"/>
              </a:spcBef>
              <a:defRPr sz="2800" spc="-84">
                <a:solidFill>
                  <a:srgbClr val="0067B2"/>
                </a:solidFill>
                <a:latin typeface="Arial MT Md"/>
                <a:cs typeface="Avenir LT Std 65 Medium"/>
              </a:defRPr>
            </a:lvl1pPr>
          </a:lstStyle>
          <a:p>
            <a:pPr marL="8889">
              <a:lnSpc>
                <a:spcPct val="100000"/>
              </a:lnSpc>
              <a:spcBef>
                <a:spcPts val="0"/>
              </a:spcBef>
            </a:pPr>
            <a:r>
              <a:rPr lang="en-US" sz="1800" b="1">
                <a:solidFill>
                  <a:srgbClr val="002060"/>
                </a:solidFill>
                <a:latin typeface="Arial"/>
                <a:ea typeface="Geneva"/>
                <a:cs typeface="Arial"/>
              </a:rPr>
              <a:t>Pool cars</a:t>
            </a:r>
          </a:p>
          <a:p>
            <a:pPr marL="294639" indent="-285750">
              <a:lnSpc>
                <a:spcPct val="100000"/>
              </a:lnSpc>
              <a:spcBef>
                <a:spcPts val="0"/>
              </a:spcBef>
              <a:buFont typeface="Arial" panose="020B0604020202020204" pitchFamily="34" charset="0"/>
              <a:buChar char="•"/>
            </a:pPr>
            <a:r>
              <a:rPr lang="en-US" sz="1800">
                <a:solidFill>
                  <a:srgbClr val="002060"/>
                </a:solidFill>
                <a:latin typeface="Arial"/>
                <a:ea typeface="Geneva"/>
                <a:cs typeface="Arial"/>
              </a:rPr>
              <a:t>We have transitioned our pool cars to electric vehicles (EV)</a:t>
            </a:r>
          </a:p>
          <a:p>
            <a:pPr marL="294605" indent="-285716">
              <a:lnSpc>
                <a:spcPct val="100000"/>
              </a:lnSpc>
              <a:spcBef>
                <a:spcPts val="0"/>
              </a:spcBef>
              <a:buFont typeface="Arial"/>
              <a:buChar char="•"/>
            </a:pPr>
            <a:endParaRPr lang="en-US" sz="1800">
              <a:solidFill>
                <a:srgbClr val="002060"/>
              </a:solidFill>
              <a:latin typeface="Arial"/>
              <a:ea typeface="Geneva"/>
              <a:cs typeface="Arial"/>
            </a:endParaRPr>
          </a:p>
          <a:p>
            <a:pPr marL="294605" indent="-285716">
              <a:lnSpc>
                <a:spcPct val="100000"/>
              </a:lnSpc>
              <a:spcBef>
                <a:spcPts val="0"/>
              </a:spcBef>
              <a:buFont typeface="Arial"/>
              <a:buChar char="•"/>
            </a:pPr>
            <a:endParaRPr lang="en-US" sz="1800">
              <a:solidFill>
                <a:srgbClr val="002060"/>
              </a:solidFill>
              <a:latin typeface="Arial"/>
              <a:ea typeface="Geneva"/>
              <a:cs typeface="Arial"/>
            </a:endParaRPr>
          </a:p>
          <a:p>
            <a:pPr marL="294605" indent="-285716">
              <a:lnSpc>
                <a:spcPct val="100000"/>
              </a:lnSpc>
              <a:spcBef>
                <a:spcPts val="0"/>
              </a:spcBef>
              <a:buFont typeface="Arial"/>
              <a:buChar char="•"/>
            </a:pPr>
            <a:endParaRPr lang="en-US" sz="1800">
              <a:solidFill>
                <a:srgbClr val="002060"/>
              </a:solidFill>
              <a:latin typeface="Arial"/>
              <a:ea typeface="Geneva"/>
              <a:cs typeface="Arial"/>
            </a:endParaRPr>
          </a:p>
          <a:p>
            <a:pPr marL="8889">
              <a:lnSpc>
                <a:spcPct val="100000"/>
              </a:lnSpc>
              <a:spcBef>
                <a:spcPts val="0"/>
              </a:spcBef>
            </a:pPr>
            <a:r>
              <a:rPr lang="en-US" sz="1800" b="1">
                <a:solidFill>
                  <a:srgbClr val="002060"/>
                </a:solidFill>
                <a:latin typeface="Arial"/>
                <a:ea typeface="Geneva"/>
                <a:cs typeface="Arial"/>
              </a:rPr>
              <a:t>Lease Cars </a:t>
            </a:r>
          </a:p>
          <a:p>
            <a:pPr marL="294639" indent="-285750">
              <a:lnSpc>
                <a:spcPct val="100000"/>
              </a:lnSpc>
              <a:spcBef>
                <a:spcPts val="0"/>
              </a:spcBef>
              <a:buFont typeface="Arial" panose="020B0604020202020204" pitchFamily="34" charset="0"/>
              <a:buChar char="•"/>
            </a:pPr>
            <a:r>
              <a:rPr lang="en-US" sz="1800">
                <a:solidFill>
                  <a:srgbClr val="002060"/>
                </a:solidFill>
                <a:latin typeface="Arial"/>
                <a:ea typeface="Geneva"/>
                <a:cs typeface="Arial"/>
              </a:rPr>
              <a:t>Introduced an EV only lease car policy</a:t>
            </a:r>
          </a:p>
          <a:p>
            <a:pPr marL="294639" indent="-285750">
              <a:lnSpc>
                <a:spcPct val="100000"/>
              </a:lnSpc>
              <a:spcBef>
                <a:spcPts val="0"/>
              </a:spcBef>
              <a:buFont typeface="Arial" panose="020B0604020202020204" pitchFamily="34" charset="0"/>
              <a:buChar char="•"/>
            </a:pPr>
            <a:r>
              <a:rPr lang="en-US" sz="1800">
                <a:solidFill>
                  <a:srgbClr val="002060"/>
                </a:solidFill>
                <a:latin typeface="Arial"/>
                <a:ea typeface="Geneva"/>
                <a:cs typeface="Arial"/>
              </a:rPr>
              <a:t>Move to a Total Cost of Ownership (TCO) model</a:t>
            </a:r>
          </a:p>
          <a:p>
            <a:pPr marL="294639" indent="-285750">
              <a:lnSpc>
                <a:spcPct val="100000"/>
              </a:lnSpc>
              <a:spcBef>
                <a:spcPts val="0"/>
              </a:spcBef>
              <a:buFont typeface="Arial" panose="020B0604020202020204" pitchFamily="34" charset="0"/>
              <a:buChar char="•"/>
            </a:pPr>
            <a:r>
              <a:rPr lang="en-US" sz="1800">
                <a:solidFill>
                  <a:srgbClr val="002060"/>
                </a:solidFill>
                <a:latin typeface="Arial"/>
                <a:ea typeface="Geneva"/>
                <a:cs typeface="Arial"/>
              </a:rPr>
              <a:t>&gt;30% of our lease cars are now EV</a:t>
            </a:r>
          </a:p>
          <a:p>
            <a:pPr marL="294639" indent="-285750">
              <a:lnSpc>
                <a:spcPct val="100000"/>
              </a:lnSpc>
              <a:spcBef>
                <a:spcPts val="0"/>
              </a:spcBef>
              <a:buFont typeface="Arial" panose="020B0604020202020204" pitchFamily="34" charset="0"/>
              <a:buChar char="­"/>
            </a:pPr>
            <a:endParaRPr lang="en-US" sz="1800">
              <a:solidFill>
                <a:srgbClr val="002060"/>
              </a:solidFill>
              <a:latin typeface="Arial"/>
              <a:ea typeface="Geneva"/>
              <a:cs typeface="Arial"/>
            </a:endParaRPr>
          </a:p>
          <a:p>
            <a:pPr marL="294639" indent="-285750">
              <a:lnSpc>
                <a:spcPct val="100000"/>
              </a:lnSpc>
              <a:spcBef>
                <a:spcPts val="0"/>
              </a:spcBef>
              <a:buFont typeface="Arial" panose="020B0604020202020204" pitchFamily="34" charset="0"/>
              <a:buChar char="­"/>
            </a:pPr>
            <a:endParaRPr lang="en-US" sz="1800">
              <a:solidFill>
                <a:srgbClr val="002060"/>
              </a:solidFill>
              <a:latin typeface="Arial"/>
              <a:ea typeface="Geneva"/>
              <a:cs typeface="Arial"/>
            </a:endParaRPr>
          </a:p>
          <a:p>
            <a:pPr marL="294639" indent="-285750">
              <a:lnSpc>
                <a:spcPct val="100000"/>
              </a:lnSpc>
              <a:spcBef>
                <a:spcPts val="0"/>
              </a:spcBef>
              <a:buFont typeface="Arial" panose="020B0604020202020204" pitchFamily="34" charset="0"/>
              <a:buChar char="­"/>
            </a:pPr>
            <a:endParaRPr lang="en-US" sz="1800">
              <a:solidFill>
                <a:srgbClr val="002060"/>
              </a:solidFill>
              <a:latin typeface="Arial"/>
              <a:ea typeface="Geneva"/>
              <a:cs typeface="Arial"/>
            </a:endParaRPr>
          </a:p>
          <a:p>
            <a:pPr marL="8889">
              <a:lnSpc>
                <a:spcPct val="100000"/>
              </a:lnSpc>
              <a:spcBef>
                <a:spcPts val="0"/>
              </a:spcBef>
            </a:pPr>
            <a:r>
              <a:rPr lang="en-US" sz="1800" b="1">
                <a:solidFill>
                  <a:srgbClr val="002060"/>
                </a:solidFill>
                <a:latin typeface="Arial"/>
                <a:ea typeface="Geneva"/>
                <a:cs typeface="Arial"/>
              </a:rPr>
              <a:t>Grey Fleet / Personal Car Drivers</a:t>
            </a:r>
          </a:p>
          <a:p>
            <a:pPr marL="294639" indent="-285750">
              <a:lnSpc>
                <a:spcPct val="100000"/>
              </a:lnSpc>
              <a:spcBef>
                <a:spcPts val="0"/>
              </a:spcBef>
              <a:buFont typeface="Arial" panose="020B0604020202020204" pitchFamily="34" charset="0"/>
              <a:buChar char="•"/>
            </a:pPr>
            <a:r>
              <a:rPr lang="en-US" sz="1800">
                <a:solidFill>
                  <a:srgbClr val="002060"/>
                </a:solidFill>
                <a:latin typeface="Arial"/>
                <a:ea typeface="Geneva"/>
                <a:cs typeface="Arial"/>
              </a:rPr>
              <a:t>Developing options to introduce a Salary Sacrifice scheme to make EVs more </a:t>
            </a:r>
          </a:p>
          <a:p>
            <a:pPr marL="8889" defTabSz="268288">
              <a:lnSpc>
                <a:spcPct val="100000"/>
              </a:lnSpc>
              <a:spcBef>
                <a:spcPts val="0"/>
              </a:spcBef>
            </a:pPr>
            <a:r>
              <a:rPr lang="en-US" sz="1800">
                <a:solidFill>
                  <a:srgbClr val="002060"/>
                </a:solidFill>
                <a:latin typeface="Arial"/>
                <a:ea typeface="Geneva"/>
                <a:cs typeface="Arial"/>
              </a:rPr>
              <a:t>	 accessible to all employees</a:t>
            </a:r>
          </a:p>
          <a:p>
            <a:pPr marL="294639" indent="-285750">
              <a:lnSpc>
                <a:spcPct val="100000"/>
              </a:lnSpc>
              <a:spcBef>
                <a:spcPts val="0"/>
              </a:spcBef>
              <a:buFont typeface="Arial" panose="020B0604020202020204" pitchFamily="34" charset="0"/>
              <a:buChar char="­"/>
            </a:pPr>
            <a:endParaRPr lang="en-US" sz="1800">
              <a:solidFill>
                <a:srgbClr val="002060"/>
              </a:solidFill>
              <a:latin typeface="Arial"/>
              <a:ea typeface="Geneva"/>
              <a:cs typeface="Arial"/>
            </a:endParaRPr>
          </a:p>
          <a:p>
            <a:pPr marL="294639" indent="-285750">
              <a:lnSpc>
                <a:spcPct val="100000"/>
              </a:lnSpc>
              <a:spcBef>
                <a:spcPts val="0"/>
              </a:spcBef>
              <a:buFont typeface="Arial" panose="020B0604020202020204" pitchFamily="34" charset="0"/>
              <a:buChar char="­"/>
            </a:pPr>
            <a:endParaRPr lang="en-US" sz="1800">
              <a:solidFill>
                <a:srgbClr val="002060"/>
              </a:solidFill>
              <a:latin typeface="Arial"/>
              <a:ea typeface="Geneva"/>
              <a:cs typeface="Arial"/>
            </a:endParaRPr>
          </a:p>
          <a:p>
            <a:pPr marL="265113">
              <a:lnSpc>
                <a:spcPct val="100000"/>
              </a:lnSpc>
              <a:spcBef>
                <a:spcPts val="0"/>
              </a:spcBef>
            </a:pPr>
            <a:endParaRPr lang="en-US" sz="1800">
              <a:solidFill>
                <a:srgbClr val="002060"/>
              </a:solidFill>
              <a:latin typeface="Arial"/>
              <a:ea typeface="Geneva"/>
              <a:cs typeface="Arial"/>
            </a:endParaRPr>
          </a:p>
          <a:p>
            <a:pPr marL="742315" lvl="1" indent="-285115">
              <a:spcBef>
                <a:spcPts val="0"/>
              </a:spcBef>
              <a:buFont typeface="Arial"/>
              <a:buChar char="•"/>
            </a:pPr>
            <a:endParaRPr lang="en-GB">
              <a:solidFill>
                <a:srgbClr val="002060"/>
              </a:solidFill>
              <a:latin typeface="Arial"/>
              <a:ea typeface="Geneva"/>
              <a:cs typeface="Arial"/>
            </a:endParaRPr>
          </a:p>
        </p:txBody>
      </p:sp>
      <p:sp>
        <p:nvSpPr>
          <p:cNvPr id="2" name="Slide Number Placeholder 1"/>
          <p:cNvSpPr txBox="1">
            <a:spLocks/>
          </p:cNvSpPr>
          <p:nvPr/>
        </p:nvSpPr>
        <p:spPr>
          <a:xfrm>
            <a:off x="8737600" y="6248400"/>
            <a:ext cx="2540000" cy="457200"/>
          </a:xfrm>
          <a:prstGeom prst="rect">
            <a:avLst/>
          </a:prstGeom>
        </p:spPr>
        <p:txBody>
          <a:bodyPr lIns="91429" tIns="45715" rIns="91429" bIns="45715"/>
          <a:lstStyle>
            <a:defPPr>
              <a:defRPr lang="en-US"/>
            </a:defPPr>
            <a:lvl1pPr algn="l" rtl="0" eaLnBrk="0" fontAlgn="base" hangingPunct="0">
              <a:spcBef>
                <a:spcPct val="0"/>
              </a:spcBef>
              <a:spcAft>
                <a:spcPct val="0"/>
              </a:spcAft>
              <a:defRPr sz="2400" kern="1200">
                <a:solidFill>
                  <a:schemeClr val="tx1"/>
                </a:solidFill>
                <a:latin typeface="Times" pitchFamily="125" charset="0"/>
                <a:ea typeface="Geneva" pitchFamily="125" charset="-128"/>
                <a:cs typeface="+mn-cs"/>
              </a:defRPr>
            </a:lvl1pPr>
            <a:lvl2pPr marL="457200" algn="l" rtl="0" eaLnBrk="0" fontAlgn="base" hangingPunct="0">
              <a:spcBef>
                <a:spcPct val="0"/>
              </a:spcBef>
              <a:spcAft>
                <a:spcPct val="0"/>
              </a:spcAft>
              <a:defRPr sz="2400" kern="1200">
                <a:solidFill>
                  <a:schemeClr val="tx1"/>
                </a:solidFill>
                <a:latin typeface="Times" pitchFamily="125" charset="0"/>
                <a:ea typeface="Geneva" pitchFamily="125" charset="-128"/>
                <a:cs typeface="+mn-cs"/>
              </a:defRPr>
            </a:lvl2pPr>
            <a:lvl3pPr marL="914400" algn="l" rtl="0" eaLnBrk="0" fontAlgn="base" hangingPunct="0">
              <a:spcBef>
                <a:spcPct val="0"/>
              </a:spcBef>
              <a:spcAft>
                <a:spcPct val="0"/>
              </a:spcAft>
              <a:defRPr sz="2400" kern="1200">
                <a:solidFill>
                  <a:schemeClr val="tx1"/>
                </a:solidFill>
                <a:latin typeface="Times" pitchFamily="125" charset="0"/>
                <a:ea typeface="Geneva" pitchFamily="125" charset="-128"/>
                <a:cs typeface="+mn-cs"/>
              </a:defRPr>
            </a:lvl3pPr>
            <a:lvl4pPr marL="1371600" algn="l" rtl="0" eaLnBrk="0" fontAlgn="base" hangingPunct="0">
              <a:spcBef>
                <a:spcPct val="0"/>
              </a:spcBef>
              <a:spcAft>
                <a:spcPct val="0"/>
              </a:spcAft>
              <a:defRPr sz="2400" kern="1200">
                <a:solidFill>
                  <a:schemeClr val="tx1"/>
                </a:solidFill>
                <a:latin typeface="Times" pitchFamily="125" charset="0"/>
                <a:ea typeface="Geneva" pitchFamily="125" charset="-128"/>
                <a:cs typeface="+mn-cs"/>
              </a:defRPr>
            </a:lvl4pPr>
            <a:lvl5pPr marL="1828800" algn="l" rtl="0" eaLnBrk="0" fontAlgn="base" hangingPunct="0">
              <a:spcBef>
                <a:spcPct val="0"/>
              </a:spcBef>
              <a:spcAft>
                <a:spcPct val="0"/>
              </a:spcAft>
              <a:defRPr sz="2400" kern="1200">
                <a:solidFill>
                  <a:schemeClr val="tx1"/>
                </a:solidFill>
                <a:latin typeface="Times" pitchFamily="125" charset="0"/>
                <a:ea typeface="Geneva" pitchFamily="125" charset="-128"/>
                <a:cs typeface="+mn-cs"/>
              </a:defRPr>
            </a:lvl5pPr>
            <a:lvl6pPr marL="2286000" algn="l" defTabSz="914400" rtl="0" eaLnBrk="1" latinLnBrk="0" hangingPunct="1">
              <a:defRPr sz="2400" kern="1200">
                <a:solidFill>
                  <a:schemeClr val="tx1"/>
                </a:solidFill>
                <a:latin typeface="Times" pitchFamily="125" charset="0"/>
                <a:ea typeface="Geneva" pitchFamily="125" charset="-128"/>
                <a:cs typeface="+mn-cs"/>
              </a:defRPr>
            </a:lvl6pPr>
            <a:lvl7pPr marL="2743200" algn="l" defTabSz="914400" rtl="0" eaLnBrk="1" latinLnBrk="0" hangingPunct="1">
              <a:defRPr sz="2400" kern="1200">
                <a:solidFill>
                  <a:schemeClr val="tx1"/>
                </a:solidFill>
                <a:latin typeface="Times" pitchFamily="125" charset="0"/>
                <a:ea typeface="Geneva" pitchFamily="125" charset="-128"/>
                <a:cs typeface="+mn-cs"/>
              </a:defRPr>
            </a:lvl7pPr>
            <a:lvl8pPr marL="3200400" algn="l" defTabSz="914400" rtl="0" eaLnBrk="1" latinLnBrk="0" hangingPunct="1">
              <a:defRPr sz="2400" kern="1200">
                <a:solidFill>
                  <a:schemeClr val="tx1"/>
                </a:solidFill>
                <a:latin typeface="Times" pitchFamily="125" charset="0"/>
                <a:ea typeface="Geneva" pitchFamily="125" charset="-128"/>
                <a:cs typeface="+mn-cs"/>
              </a:defRPr>
            </a:lvl8pPr>
            <a:lvl9pPr marL="3657600" algn="l" defTabSz="914400" rtl="0" eaLnBrk="1" latinLnBrk="0" hangingPunct="1">
              <a:defRPr sz="2400" kern="1200">
                <a:solidFill>
                  <a:schemeClr val="tx1"/>
                </a:solidFill>
                <a:latin typeface="Times" pitchFamily="125" charset="0"/>
                <a:ea typeface="Geneva" pitchFamily="125" charset="-128"/>
                <a:cs typeface="+mn-cs"/>
              </a:defRPr>
            </a:lvl9pPr>
          </a:lstStyle>
          <a:p>
            <a:pPr algn="r"/>
            <a:fld id="{94525411-3536-491D-8E04-9910E98113F5}" type="slidenum">
              <a:rPr lang="en-GB" sz="1200">
                <a:solidFill>
                  <a:prstClr val="black">
                    <a:tint val="75000"/>
                  </a:prstClr>
                </a:solidFill>
                <a:latin typeface="Arial MT Md"/>
              </a:rPr>
              <a:pPr algn="r"/>
              <a:t>21</a:t>
            </a:fld>
            <a:endParaRPr lang="en-GB" sz="1200">
              <a:solidFill>
                <a:prstClr val="black">
                  <a:tint val="75000"/>
                </a:prstClr>
              </a:solidFill>
              <a:latin typeface="Arial MT Md"/>
            </a:endParaRPr>
          </a:p>
        </p:txBody>
      </p:sp>
      <p:sp>
        <p:nvSpPr>
          <p:cNvPr id="12" name="object 5"/>
          <p:cNvSpPr/>
          <p:nvPr/>
        </p:nvSpPr>
        <p:spPr>
          <a:xfrm>
            <a:off x="535783" y="410766"/>
            <a:ext cx="11120437" cy="0"/>
          </a:xfrm>
          <a:custGeom>
            <a:avLst/>
            <a:gdLst/>
            <a:ahLst/>
            <a:cxnLst/>
            <a:rect l="l" t="t" r="r" b="b"/>
            <a:pathLst>
              <a:path w="11861800">
                <a:moveTo>
                  <a:pt x="0" y="0"/>
                </a:moveTo>
                <a:lnTo>
                  <a:pt x="11861800" y="0"/>
                </a:lnTo>
              </a:path>
            </a:pathLst>
          </a:custGeom>
          <a:ln w="25400">
            <a:solidFill>
              <a:schemeClr val="accent1"/>
            </a:solidFill>
          </a:ln>
        </p:spPr>
        <p:txBody>
          <a:bodyPr wrap="square" lIns="0" tIns="0" rIns="0" bIns="0" rtlCol="0"/>
          <a:lstStyle/>
          <a:p>
            <a:pPr defTabSz="640409"/>
            <a:endParaRPr>
              <a:solidFill>
                <a:srgbClr val="1F497D">
                  <a:lumMod val="60000"/>
                  <a:lumOff val="40000"/>
                </a:srgbClr>
              </a:solidFill>
              <a:ea typeface="+mn-ea"/>
              <a:cs typeface="+mn-cs"/>
            </a:endParaRPr>
          </a:p>
        </p:txBody>
      </p:sp>
      <p:sp>
        <p:nvSpPr>
          <p:cNvPr id="8" name="object 2">
            <a:extLst>
              <a:ext uri="{FF2B5EF4-FFF2-40B4-BE49-F238E27FC236}">
                <a16:creationId xmlns:a16="http://schemas.microsoft.com/office/drawing/2014/main" id="{873B275A-B125-4353-B1C9-C791E9501AF1}"/>
              </a:ext>
            </a:extLst>
          </p:cNvPr>
          <p:cNvSpPr txBox="1"/>
          <p:nvPr/>
        </p:nvSpPr>
        <p:spPr>
          <a:xfrm>
            <a:off x="535783" y="350072"/>
            <a:ext cx="11511600" cy="767712"/>
          </a:xfrm>
          <a:prstGeom prst="rect">
            <a:avLst/>
          </a:prstGeom>
        </p:spPr>
        <p:txBody>
          <a:bodyPr vert="horz" wrap="square" lIns="0" tIns="80138" rIns="0" bIns="0" rtlCol="0" anchor="t">
            <a:spAutoFit/>
          </a:bodyPr>
          <a:lstStyle/>
          <a:p>
            <a:pPr marL="8255" marR="3175" defTabSz="640859">
              <a:lnSpc>
                <a:spcPts val="2812"/>
              </a:lnSpc>
              <a:spcBef>
                <a:spcPts val="0"/>
              </a:spcBef>
            </a:pPr>
            <a:r>
              <a:rPr lang="en-GB" sz="2000" b="1" spc="-84">
                <a:solidFill>
                  <a:srgbClr val="0067B2"/>
                </a:solidFill>
                <a:latin typeface="Arial MT Md"/>
                <a:ea typeface="Geneva"/>
                <a:cs typeface="Avenir LT Std 65 Medium"/>
              </a:rPr>
              <a:t>Scottish Water Business Miles</a:t>
            </a:r>
          </a:p>
          <a:p>
            <a:pPr marL="8255" marR="3175" defTabSz="640859">
              <a:lnSpc>
                <a:spcPts val="2812"/>
              </a:lnSpc>
              <a:spcBef>
                <a:spcPts val="0"/>
              </a:spcBef>
            </a:pPr>
            <a:endParaRPr lang="en-GB" sz="2000" b="1" spc="-84">
              <a:solidFill>
                <a:srgbClr val="FF0000"/>
              </a:solidFill>
              <a:latin typeface="Arial MT Md"/>
              <a:ea typeface="Geneva"/>
              <a:cs typeface="Avenir LT Std 65 Medium"/>
            </a:endParaRPr>
          </a:p>
        </p:txBody>
      </p:sp>
      <p:pic>
        <p:nvPicPr>
          <p:cNvPr id="11" name="Picture 3" descr="IMG-20201014-WA0000">
            <a:extLst>
              <a:ext uri="{FF2B5EF4-FFF2-40B4-BE49-F238E27FC236}">
                <a16:creationId xmlns:a16="http://schemas.microsoft.com/office/drawing/2014/main" id="{EE5E7ADD-EE14-48ED-80C7-DFAED331224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769" t="16579" r="7802" b="9631"/>
          <a:stretch>
            <a:fillRect/>
          </a:stretch>
        </p:blipFill>
        <p:spPr bwMode="auto">
          <a:xfrm>
            <a:off x="8357936" y="4797920"/>
            <a:ext cx="3306061" cy="138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 descr="C:\Users\PRINGLEL\AppData\Local\Microsoft\Windows\Temporary Internet Files\Content.Outlook\0FMXAV8G\IMG-20201121-WA0001.jpg">
            <a:extLst>
              <a:ext uri="{FF2B5EF4-FFF2-40B4-BE49-F238E27FC236}">
                <a16:creationId xmlns:a16="http://schemas.microsoft.com/office/drawing/2014/main" id="{30BD9477-0985-41CB-9F3D-7833EA5DCB50}"/>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27287" b="27752"/>
          <a:stretch/>
        </p:blipFill>
        <p:spPr bwMode="auto">
          <a:xfrm>
            <a:off x="9327491" y="2686672"/>
            <a:ext cx="2339636" cy="185717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67860F48-E4DA-45E1-92DA-213F0967B40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357935" y="679964"/>
            <a:ext cx="3298281" cy="1773227"/>
          </a:xfrm>
          <a:prstGeom prst="rect">
            <a:avLst/>
          </a:prstGeom>
        </p:spPr>
      </p:pic>
    </p:spTree>
    <p:custDataLst>
      <p:tags r:id="rId1"/>
    </p:custDataLst>
    <p:extLst>
      <p:ext uri="{BB962C8B-B14F-4D97-AF65-F5344CB8AC3E}">
        <p14:creationId xmlns:p14="http://schemas.microsoft.com/office/powerpoint/2010/main" val="35087678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2EC06DE-B5FE-406E-9D7F-31F012604E9D}"/>
              </a:ext>
            </a:extLst>
          </p:cNvPr>
          <p:cNvSpPr/>
          <p:nvPr/>
        </p:nvSpPr>
        <p:spPr>
          <a:xfrm>
            <a:off x="0" y="5686097"/>
            <a:ext cx="12192000" cy="11718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p:cNvSpPr txBox="1"/>
          <p:nvPr/>
        </p:nvSpPr>
        <p:spPr>
          <a:xfrm>
            <a:off x="529001" y="1077994"/>
            <a:ext cx="6739697" cy="5005346"/>
          </a:xfrm>
          <a:prstGeom prst="rect">
            <a:avLst/>
          </a:prstGeom>
        </p:spPr>
        <p:txBody>
          <a:bodyPr vert="horz" wrap="square" lIns="0" tIns="80138" rIns="0" bIns="0" rtlCol="0" anchor="t">
            <a:spAutoFit/>
          </a:bodyPr>
          <a:lstStyle>
            <a:defPPr>
              <a:defRPr lang="en-US"/>
            </a:defPPr>
            <a:lvl1pPr marL="8890" marR="3175" defTabSz="640936">
              <a:lnSpc>
                <a:spcPts val="2812"/>
              </a:lnSpc>
              <a:spcBef>
                <a:spcPts val="633"/>
              </a:spcBef>
              <a:defRPr sz="2800" spc="-84">
                <a:solidFill>
                  <a:srgbClr val="0067B2"/>
                </a:solidFill>
                <a:latin typeface="Arial MT Md"/>
                <a:cs typeface="Avenir LT Std 65 Medium"/>
              </a:defRPr>
            </a:lvl1pPr>
          </a:lstStyle>
          <a:p>
            <a:pPr marL="8889">
              <a:lnSpc>
                <a:spcPct val="100000"/>
              </a:lnSpc>
              <a:spcBef>
                <a:spcPts val="0"/>
              </a:spcBef>
            </a:pPr>
            <a:r>
              <a:rPr lang="en-GB" sz="1600" b="1">
                <a:solidFill>
                  <a:srgbClr val="002060"/>
                </a:solidFill>
                <a:latin typeface="Arial"/>
                <a:ea typeface="Geneva"/>
                <a:cs typeface="Arial"/>
              </a:rPr>
              <a:t>Vehicle Technology</a:t>
            </a:r>
          </a:p>
          <a:p>
            <a:pPr marL="294639" indent="-285750">
              <a:lnSpc>
                <a:spcPct val="100000"/>
              </a:lnSpc>
              <a:spcBef>
                <a:spcPts val="0"/>
              </a:spcBef>
              <a:buFont typeface="Arial" panose="020B0604020202020204" pitchFamily="34" charset="0"/>
              <a:buChar char="•"/>
            </a:pPr>
            <a:r>
              <a:rPr lang="en-GB" sz="1600">
                <a:solidFill>
                  <a:srgbClr val="002060"/>
                </a:solidFill>
                <a:latin typeface="Arial"/>
                <a:ea typeface="Geneva"/>
                <a:cs typeface="Arial"/>
              </a:rPr>
              <a:t>Cenex completed a market scan and provided us with options and impacts of replacing our diesel vehicles with EV or low emission vehicles</a:t>
            </a:r>
          </a:p>
          <a:p>
            <a:pPr marL="8889">
              <a:lnSpc>
                <a:spcPct val="100000"/>
              </a:lnSpc>
              <a:spcBef>
                <a:spcPts val="0"/>
              </a:spcBef>
            </a:pPr>
            <a:endParaRPr lang="en-GB" sz="1600">
              <a:solidFill>
                <a:srgbClr val="002060"/>
              </a:solidFill>
              <a:latin typeface="Arial"/>
              <a:ea typeface="Geneva"/>
              <a:cs typeface="Arial"/>
            </a:endParaRPr>
          </a:p>
          <a:p>
            <a:pPr marL="8889">
              <a:lnSpc>
                <a:spcPct val="100000"/>
              </a:lnSpc>
              <a:spcBef>
                <a:spcPts val="0"/>
              </a:spcBef>
            </a:pPr>
            <a:endParaRPr lang="en-GB" sz="1600">
              <a:solidFill>
                <a:srgbClr val="002060"/>
              </a:solidFill>
              <a:latin typeface="Arial"/>
              <a:ea typeface="Geneva"/>
              <a:cs typeface="Arial"/>
            </a:endParaRPr>
          </a:p>
          <a:p>
            <a:pPr marL="8889">
              <a:lnSpc>
                <a:spcPct val="100000"/>
              </a:lnSpc>
              <a:spcBef>
                <a:spcPts val="0"/>
              </a:spcBef>
            </a:pPr>
            <a:r>
              <a:rPr lang="en-GB" sz="1600" b="1">
                <a:solidFill>
                  <a:srgbClr val="002060"/>
                </a:solidFill>
                <a:latin typeface="Arial"/>
                <a:ea typeface="Geneva"/>
                <a:cs typeface="Arial"/>
              </a:rPr>
              <a:t>Operational Criteria</a:t>
            </a:r>
          </a:p>
          <a:p>
            <a:pPr marL="294639" indent="-285750">
              <a:lnSpc>
                <a:spcPct val="100000"/>
              </a:lnSpc>
              <a:spcBef>
                <a:spcPts val="0"/>
              </a:spcBef>
              <a:buFont typeface="Arial" panose="020B0604020202020204" pitchFamily="34" charset="0"/>
              <a:buChar char="•"/>
            </a:pPr>
            <a:r>
              <a:rPr lang="en-GB" sz="1600">
                <a:solidFill>
                  <a:srgbClr val="002060"/>
                </a:solidFill>
                <a:latin typeface="Arial"/>
                <a:ea typeface="Geneva"/>
                <a:cs typeface="Arial"/>
              </a:rPr>
              <a:t>Criteria was applied based on known operational constraints, including current daily mileage, payload and towing capability, compatibility with on-board equipment / power required and the charging or refuelling infrastructure available or viable to install</a:t>
            </a:r>
          </a:p>
          <a:p>
            <a:pPr marL="8889">
              <a:lnSpc>
                <a:spcPct val="100000"/>
              </a:lnSpc>
              <a:spcBef>
                <a:spcPts val="0"/>
              </a:spcBef>
            </a:pPr>
            <a:endParaRPr lang="en-GB" sz="1600">
              <a:solidFill>
                <a:srgbClr val="002060"/>
              </a:solidFill>
              <a:latin typeface="Arial"/>
              <a:ea typeface="Geneva"/>
              <a:cs typeface="Arial"/>
            </a:endParaRPr>
          </a:p>
          <a:p>
            <a:pPr marL="8889">
              <a:lnSpc>
                <a:spcPct val="100000"/>
              </a:lnSpc>
              <a:spcBef>
                <a:spcPts val="0"/>
              </a:spcBef>
            </a:pPr>
            <a:endParaRPr lang="en-GB" sz="1600">
              <a:solidFill>
                <a:srgbClr val="002060"/>
              </a:solidFill>
              <a:latin typeface="Arial"/>
              <a:ea typeface="Geneva"/>
              <a:cs typeface="Arial"/>
            </a:endParaRPr>
          </a:p>
          <a:p>
            <a:pPr marL="8889">
              <a:lnSpc>
                <a:spcPct val="100000"/>
              </a:lnSpc>
              <a:spcBef>
                <a:spcPts val="0"/>
              </a:spcBef>
            </a:pPr>
            <a:r>
              <a:rPr lang="en-GB" sz="1600" b="1">
                <a:solidFill>
                  <a:srgbClr val="002060"/>
                </a:solidFill>
                <a:latin typeface="Arial"/>
                <a:ea typeface="Geneva"/>
                <a:cs typeface="Arial"/>
              </a:rPr>
              <a:t>Suitability Assessment</a:t>
            </a:r>
          </a:p>
          <a:p>
            <a:pPr marL="294639" indent="-285750">
              <a:lnSpc>
                <a:spcPct val="100000"/>
              </a:lnSpc>
              <a:spcBef>
                <a:spcPts val="0"/>
              </a:spcBef>
              <a:buFont typeface="Arial" panose="020B0604020202020204" pitchFamily="34" charset="0"/>
              <a:buChar char="•"/>
            </a:pPr>
            <a:r>
              <a:rPr lang="en-GB" sz="1600">
                <a:solidFill>
                  <a:srgbClr val="002060"/>
                </a:solidFill>
                <a:latin typeface="Arial"/>
                <a:ea typeface="Geneva"/>
                <a:cs typeface="Arial"/>
              </a:rPr>
              <a:t>Based on current vehicle technology and operational criteria, EVs in the small and medium van segments are viable options</a:t>
            </a:r>
          </a:p>
          <a:p>
            <a:pPr marL="8889">
              <a:lnSpc>
                <a:spcPct val="100000"/>
              </a:lnSpc>
              <a:spcBef>
                <a:spcPts val="0"/>
              </a:spcBef>
            </a:pPr>
            <a:endParaRPr lang="en-GB" sz="1600">
              <a:solidFill>
                <a:srgbClr val="002060"/>
              </a:solidFill>
              <a:latin typeface="Arial"/>
              <a:ea typeface="Geneva"/>
              <a:cs typeface="Arial"/>
            </a:endParaRPr>
          </a:p>
          <a:p>
            <a:pPr marL="8889">
              <a:lnSpc>
                <a:spcPct val="100000"/>
              </a:lnSpc>
              <a:spcBef>
                <a:spcPts val="0"/>
              </a:spcBef>
            </a:pPr>
            <a:endParaRPr lang="en-GB" sz="1600">
              <a:solidFill>
                <a:srgbClr val="002060"/>
              </a:solidFill>
              <a:latin typeface="Arial"/>
              <a:ea typeface="Geneva"/>
              <a:cs typeface="Arial"/>
            </a:endParaRPr>
          </a:p>
          <a:p>
            <a:pPr marL="8889">
              <a:lnSpc>
                <a:spcPct val="100000"/>
              </a:lnSpc>
              <a:spcBef>
                <a:spcPts val="0"/>
              </a:spcBef>
            </a:pPr>
            <a:r>
              <a:rPr lang="en-GB" sz="1600" b="1">
                <a:solidFill>
                  <a:srgbClr val="002060"/>
                </a:solidFill>
                <a:latin typeface="Arial"/>
                <a:ea typeface="Geneva"/>
                <a:cs typeface="Arial"/>
              </a:rPr>
              <a:t>Infrastructure Requirements</a:t>
            </a:r>
          </a:p>
          <a:p>
            <a:pPr marL="294639" indent="-285750">
              <a:lnSpc>
                <a:spcPct val="100000"/>
              </a:lnSpc>
              <a:spcBef>
                <a:spcPts val="0"/>
              </a:spcBef>
              <a:buFont typeface="Arial" panose="020B0604020202020204" pitchFamily="34" charset="0"/>
              <a:buChar char="•"/>
            </a:pPr>
            <a:r>
              <a:rPr lang="en-GB" sz="1600">
                <a:solidFill>
                  <a:srgbClr val="002060"/>
                </a:solidFill>
                <a:latin typeface="Arial"/>
                <a:ea typeface="Geneva"/>
                <a:cs typeface="Arial"/>
              </a:rPr>
              <a:t>To enable transition into EVs, it is likely that we will require a blended approach between workplace and home charging</a:t>
            </a:r>
          </a:p>
        </p:txBody>
      </p:sp>
      <p:sp>
        <p:nvSpPr>
          <p:cNvPr id="2" name="Slide Number Placeholder 1"/>
          <p:cNvSpPr txBox="1">
            <a:spLocks/>
          </p:cNvSpPr>
          <p:nvPr/>
        </p:nvSpPr>
        <p:spPr>
          <a:xfrm>
            <a:off x="8737600" y="6248400"/>
            <a:ext cx="2540000" cy="457200"/>
          </a:xfrm>
          <a:prstGeom prst="rect">
            <a:avLst/>
          </a:prstGeom>
        </p:spPr>
        <p:txBody>
          <a:bodyPr lIns="91429" tIns="45715" rIns="91429" bIns="45715"/>
          <a:lstStyle>
            <a:defPPr>
              <a:defRPr lang="en-US"/>
            </a:defPPr>
            <a:lvl1pPr algn="l" rtl="0" eaLnBrk="0" fontAlgn="base" hangingPunct="0">
              <a:spcBef>
                <a:spcPct val="0"/>
              </a:spcBef>
              <a:spcAft>
                <a:spcPct val="0"/>
              </a:spcAft>
              <a:defRPr sz="2400" kern="1200">
                <a:solidFill>
                  <a:schemeClr val="tx1"/>
                </a:solidFill>
                <a:latin typeface="Times" pitchFamily="125" charset="0"/>
                <a:ea typeface="Geneva" pitchFamily="125" charset="-128"/>
                <a:cs typeface="+mn-cs"/>
              </a:defRPr>
            </a:lvl1pPr>
            <a:lvl2pPr marL="457200" algn="l" rtl="0" eaLnBrk="0" fontAlgn="base" hangingPunct="0">
              <a:spcBef>
                <a:spcPct val="0"/>
              </a:spcBef>
              <a:spcAft>
                <a:spcPct val="0"/>
              </a:spcAft>
              <a:defRPr sz="2400" kern="1200">
                <a:solidFill>
                  <a:schemeClr val="tx1"/>
                </a:solidFill>
                <a:latin typeface="Times" pitchFamily="125" charset="0"/>
                <a:ea typeface="Geneva" pitchFamily="125" charset="-128"/>
                <a:cs typeface="+mn-cs"/>
              </a:defRPr>
            </a:lvl2pPr>
            <a:lvl3pPr marL="914400" algn="l" rtl="0" eaLnBrk="0" fontAlgn="base" hangingPunct="0">
              <a:spcBef>
                <a:spcPct val="0"/>
              </a:spcBef>
              <a:spcAft>
                <a:spcPct val="0"/>
              </a:spcAft>
              <a:defRPr sz="2400" kern="1200">
                <a:solidFill>
                  <a:schemeClr val="tx1"/>
                </a:solidFill>
                <a:latin typeface="Times" pitchFamily="125" charset="0"/>
                <a:ea typeface="Geneva" pitchFamily="125" charset="-128"/>
                <a:cs typeface="+mn-cs"/>
              </a:defRPr>
            </a:lvl3pPr>
            <a:lvl4pPr marL="1371600" algn="l" rtl="0" eaLnBrk="0" fontAlgn="base" hangingPunct="0">
              <a:spcBef>
                <a:spcPct val="0"/>
              </a:spcBef>
              <a:spcAft>
                <a:spcPct val="0"/>
              </a:spcAft>
              <a:defRPr sz="2400" kern="1200">
                <a:solidFill>
                  <a:schemeClr val="tx1"/>
                </a:solidFill>
                <a:latin typeface="Times" pitchFamily="125" charset="0"/>
                <a:ea typeface="Geneva" pitchFamily="125" charset="-128"/>
                <a:cs typeface="+mn-cs"/>
              </a:defRPr>
            </a:lvl4pPr>
            <a:lvl5pPr marL="1828800" algn="l" rtl="0" eaLnBrk="0" fontAlgn="base" hangingPunct="0">
              <a:spcBef>
                <a:spcPct val="0"/>
              </a:spcBef>
              <a:spcAft>
                <a:spcPct val="0"/>
              </a:spcAft>
              <a:defRPr sz="2400" kern="1200">
                <a:solidFill>
                  <a:schemeClr val="tx1"/>
                </a:solidFill>
                <a:latin typeface="Times" pitchFamily="125" charset="0"/>
                <a:ea typeface="Geneva" pitchFamily="125" charset="-128"/>
                <a:cs typeface="+mn-cs"/>
              </a:defRPr>
            </a:lvl5pPr>
            <a:lvl6pPr marL="2286000" algn="l" defTabSz="914400" rtl="0" eaLnBrk="1" latinLnBrk="0" hangingPunct="1">
              <a:defRPr sz="2400" kern="1200">
                <a:solidFill>
                  <a:schemeClr val="tx1"/>
                </a:solidFill>
                <a:latin typeface="Times" pitchFamily="125" charset="0"/>
                <a:ea typeface="Geneva" pitchFamily="125" charset="-128"/>
                <a:cs typeface="+mn-cs"/>
              </a:defRPr>
            </a:lvl6pPr>
            <a:lvl7pPr marL="2743200" algn="l" defTabSz="914400" rtl="0" eaLnBrk="1" latinLnBrk="0" hangingPunct="1">
              <a:defRPr sz="2400" kern="1200">
                <a:solidFill>
                  <a:schemeClr val="tx1"/>
                </a:solidFill>
                <a:latin typeface="Times" pitchFamily="125" charset="0"/>
                <a:ea typeface="Geneva" pitchFamily="125" charset="-128"/>
                <a:cs typeface="+mn-cs"/>
              </a:defRPr>
            </a:lvl7pPr>
            <a:lvl8pPr marL="3200400" algn="l" defTabSz="914400" rtl="0" eaLnBrk="1" latinLnBrk="0" hangingPunct="1">
              <a:defRPr sz="2400" kern="1200">
                <a:solidFill>
                  <a:schemeClr val="tx1"/>
                </a:solidFill>
                <a:latin typeface="Times" pitchFamily="125" charset="0"/>
                <a:ea typeface="Geneva" pitchFamily="125" charset="-128"/>
                <a:cs typeface="+mn-cs"/>
              </a:defRPr>
            </a:lvl8pPr>
            <a:lvl9pPr marL="3657600" algn="l" defTabSz="914400" rtl="0" eaLnBrk="1" latinLnBrk="0" hangingPunct="1">
              <a:defRPr sz="2400" kern="1200">
                <a:solidFill>
                  <a:schemeClr val="tx1"/>
                </a:solidFill>
                <a:latin typeface="Times" pitchFamily="125" charset="0"/>
                <a:ea typeface="Geneva" pitchFamily="125" charset="-128"/>
                <a:cs typeface="+mn-cs"/>
              </a:defRPr>
            </a:lvl9pPr>
          </a:lstStyle>
          <a:p>
            <a:pPr algn="r"/>
            <a:fld id="{94525411-3536-491D-8E04-9910E98113F5}" type="slidenum">
              <a:rPr lang="en-GB" sz="1200">
                <a:solidFill>
                  <a:prstClr val="black">
                    <a:tint val="75000"/>
                  </a:prstClr>
                </a:solidFill>
                <a:latin typeface="Arial MT Md"/>
              </a:rPr>
              <a:pPr algn="r"/>
              <a:t>22</a:t>
            </a:fld>
            <a:endParaRPr lang="en-GB" sz="1200">
              <a:solidFill>
                <a:prstClr val="black">
                  <a:tint val="75000"/>
                </a:prstClr>
              </a:solidFill>
              <a:latin typeface="Arial MT Md"/>
            </a:endParaRPr>
          </a:p>
        </p:txBody>
      </p:sp>
      <p:sp>
        <p:nvSpPr>
          <p:cNvPr id="12" name="object 5"/>
          <p:cNvSpPr/>
          <p:nvPr/>
        </p:nvSpPr>
        <p:spPr>
          <a:xfrm>
            <a:off x="535783" y="410766"/>
            <a:ext cx="11120437" cy="0"/>
          </a:xfrm>
          <a:custGeom>
            <a:avLst/>
            <a:gdLst/>
            <a:ahLst/>
            <a:cxnLst/>
            <a:rect l="l" t="t" r="r" b="b"/>
            <a:pathLst>
              <a:path w="11861800">
                <a:moveTo>
                  <a:pt x="0" y="0"/>
                </a:moveTo>
                <a:lnTo>
                  <a:pt x="11861800" y="0"/>
                </a:lnTo>
              </a:path>
            </a:pathLst>
          </a:custGeom>
          <a:ln w="25400">
            <a:solidFill>
              <a:schemeClr val="accent1"/>
            </a:solidFill>
          </a:ln>
        </p:spPr>
        <p:txBody>
          <a:bodyPr wrap="square" lIns="0" tIns="0" rIns="0" bIns="0" rtlCol="0"/>
          <a:lstStyle/>
          <a:p>
            <a:pPr defTabSz="640409"/>
            <a:endParaRPr>
              <a:solidFill>
                <a:srgbClr val="1F497D">
                  <a:lumMod val="60000"/>
                  <a:lumOff val="40000"/>
                </a:srgbClr>
              </a:solidFill>
              <a:ea typeface="+mn-ea"/>
              <a:cs typeface="+mn-cs"/>
            </a:endParaRPr>
          </a:p>
        </p:txBody>
      </p:sp>
      <p:sp>
        <p:nvSpPr>
          <p:cNvPr id="8" name="object 2">
            <a:extLst>
              <a:ext uri="{FF2B5EF4-FFF2-40B4-BE49-F238E27FC236}">
                <a16:creationId xmlns:a16="http://schemas.microsoft.com/office/drawing/2014/main" id="{873B275A-B125-4353-B1C9-C791E9501AF1}"/>
              </a:ext>
            </a:extLst>
          </p:cNvPr>
          <p:cNvSpPr txBox="1"/>
          <p:nvPr/>
        </p:nvSpPr>
        <p:spPr>
          <a:xfrm>
            <a:off x="535783" y="350072"/>
            <a:ext cx="11511600" cy="408639"/>
          </a:xfrm>
          <a:prstGeom prst="rect">
            <a:avLst/>
          </a:prstGeom>
        </p:spPr>
        <p:txBody>
          <a:bodyPr vert="horz" wrap="square" lIns="0" tIns="80138" rIns="0" bIns="0" rtlCol="0" anchor="t">
            <a:spAutoFit/>
          </a:bodyPr>
          <a:lstStyle/>
          <a:p>
            <a:pPr marL="8255" marR="3175" defTabSz="640859">
              <a:lnSpc>
                <a:spcPts val="2812"/>
              </a:lnSpc>
              <a:spcBef>
                <a:spcPts val="0"/>
              </a:spcBef>
            </a:pPr>
            <a:r>
              <a:rPr lang="en-GB" sz="2000" b="1" spc="-84">
                <a:solidFill>
                  <a:srgbClr val="0067B2"/>
                </a:solidFill>
                <a:latin typeface="Arial MT Md"/>
                <a:ea typeface="Geneva"/>
                <a:cs typeface="Avenir LT Std 65 Medium"/>
              </a:rPr>
              <a:t>Commercial Fleet Review</a:t>
            </a:r>
            <a:endParaRPr lang="en-GB" sz="2000" b="1" spc="-84">
              <a:solidFill>
                <a:srgbClr val="FF0000"/>
              </a:solidFill>
              <a:latin typeface="Arial MT Md"/>
              <a:ea typeface="Geneva"/>
              <a:cs typeface="Avenir LT Std 65 Medium"/>
            </a:endParaRPr>
          </a:p>
        </p:txBody>
      </p:sp>
      <p:pic>
        <p:nvPicPr>
          <p:cNvPr id="11" name="Content Placeholder 2">
            <a:extLst>
              <a:ext uri="{FF2B5EF4-FFF2-40B4-BE49-F238E27FC236}">
                <a16:creationId xmlns:a16="http://schemas.microsoft.com/office/drawing/2014/main" id="{F85207A1-B12F-4E62-81C6-2607F2DB4509}"/>
              </a:ext>
            </a:extLst>
          </p:cNvPr>
          <p:cNvPicPr>
            <a:picLocks noChangeAspect="1"/>
          </p:cNvPicPr>
          <p:nvPr/>
        </p:nvPicPr>
        <p:blipFill>
          <a:blip r:embed="rId4"/>
          <a:srcRect/>
          <a:stretch>
            <a:fillRect/>
          </a:stretch>
        </p:blipFill>
        <p:spPr>
          <a:xfrm>
            <a:off x="7890704" y="2467748"/>
            <a:ext cx="3877743" cy="1767690"/>
          </a:xfrm>
          <a:prstGeom prst="rect">
            <a:avLst/>
          </a:prstGeom>
        </p:spPr>
      </p:pic>
      <p:pic>
        <p:nvPicPr>
          <p:cNvPr id="13" name="Picture 2">
            <a:extLst>
              <a:ext uri="{FF2B5EF4-FFF2-40B4-BE49-F238E27FC236}">
                <a16:creationId xmlns:a16="http://schemas.microsoft.com/office/drawing/2014/main" id="{444134A9-0579-4675-BB85-77D9494D7C3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39758" r="9777" b="5932"/>
          <a:stretch/>
        </p:blipFill>
        <p:spPr bwMode="auto">
          <a:xfrm>
            <a:off x="7983710" y="4323975"/>
            <a:ext cx="3672510" cy="16564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4" descr="C:\Users\PRINGLEL\AppData\Local\Microsoft\Windows\Temporary Internet Files\Content.Outlook\0FMXAV8G\IMG_7060 (3).jpg">
            <a:extLst>
              <a:ext uri="{FF2B5EF4-FFF2-40B4-BE49-F238E27FC236}">
                <a16:creationId xmlns:a16="http://schemas.microsoft.com/office/drawing/2014/main" id="{CDE3EB6F-76F4-42A3-B84B-3BAC1EC423C1}"/>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26631" r="46581" b="24279"/>
          <a:stretch/>
        </p:blipFill>
        <p:spPr bwMode="auto">
          <a:xfrm>
            <a:off x="9595263" y="1077994"/>
            <a:ext cx="2060958" cy="131350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C:\Users\PRINGLEL\AppData\Local\Microsoft\Windows\Temporary Internet Files\Content.Outlook\0FMXAV8G\IMG_9952.JPG">
            <a:extLst>
              <a:ext uri="{FF2B5EF4-FFF2-40B4-BE49-F238E27FC236}">
                <a16:creationId xmlns:a16="http://schemas.microsoft.com/office/drawing/2014/main" id="{645257E5-6B60-414A-A1EE-C4A51BA6191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48906" t="59375" r="15411"/>
          <a:stretch/>
        </p:blipFill>
        <p:spPr bwMode="auto">
          <a:xfrm>
            <a:off x="7983709" y="1078310"/>
            <a:ext cx="1445299" cy="131350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272034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44132F9-8DCC-4CEC-B1F8-0D5A1967DB0C}"/>
              </a:ext>
            </a:extLst>
          </p:cNvPr>
          <p:cNvSpPr/>
          <p:nvPr/>
        </p:nvSpPr>
        <p:spPr>
          <a:xfrm>
            <a:off x="0" y="5067300"/>
            <a:ext cx="12192000" cy="1790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p:cNvSpPr txBox="1"/>
          <p:nvPr/>
        </p:nvSpPr>
        <p:spPr>
          <a:xfrm>
            <a:off x="535784" y="1141088"/>
            <a:ext cx="5560216" cy="4512903"/>
          </a:xfrm>
          <a:prstGeom prst="rect">
            <a:avLst/>
          </a:prstGeom>
        </p:spPr>
        <p:txBody>
          <a:bodyPr vert="horz" wrap="square" lIns="0" tIns="80138" rIns="0" bIns="0" rtlCol="0" anchor="t">
            <a:spAutoFit/>
          </a:bodyPr>
          <a:lstStyle>
            <a:defPPr>
              <a:defRPr lang="en-US"/>
            </a:defPPr>
            <a:lvl1pPr marL="8890" marR="3175" defTabSz="640936">
              <a:lnSpc>
                <a:spcPts val="2812"/>
              </a:lnSpc>
              <a:spcBef>
                <a:spcPts val="633"/>
              </a:spcBef>
              <a:defRPr sz="2800" spc="-84">
                <a:solidFill>
                  <a:srgbClr val="0067B2"/>
                </a:solidFill>
                <a:latin typeface="Arial MT Md"/>
                <a:cs typeface="Avenir LT Std 65 Medium"/>
              </a:defRPr>
            </a:lvl1pPr>
          </a:lstStyle>
          <a:p>
            <a:pPr marL="8889">
              <a:lnSpc>
                <a:spcPct val="100000"/>
              </a:lnSpc>
              <a:spcBef>
                <a:spcPts val="0"/>
              </a:spcBef>
            </a:pPr>
            <a:r>
              <a:rPr lang="en-GB" sz="1600" b="1">
                <a:solidFill>
                  <a:srgbClr val="002060"/>
                </a:solidFill>
                <a:latin typeface="Arial"/>
                <a:ea typeface="Geneva"/>
                <a:cs typeface="Arial"/>
              </a:rPr>
              <a:t>Approach</a:t>
            </a:r>
          </a:p>
          <a:p>
            <a:pPr marL="294639" indent="-285750">
              <a:lnSpc>
                <a:spcPct val="100000"/>
              </a:lnSpc>
              <a:spcBef>
                <a:spcPts val="0"/>
              </a:spcBef>
              <a:buFont typeface="Arial" panose="020B0604020202020204" pitchFamily="34" charset="0"/>
              <a:buChar char="•"/>
            </a:pPr>
            <a:r>
              <a:rPr lang="en-GB" sz="1600">
                <a:solidFill>
                  <a:srgbClr val="002060"/>
                </a:solidFill>
                <a:latin typeface="Arial"/>
                <a:ea typeface="Geneva"/>
                <a:cs typeface="Arial"/>
              </a:rPr>
              <a:t>We will transition to EVs when it is economic (lowest total cost of ownership) and operationally practicable to do so</a:t>
            </a:r>
          </a:p>
          <a:p>
            <a:pPr marL="8889">
              <a:lnSpc>
                <a:spcPct val="100000"/>
              </a:lnSpc>
              <a:spcBef>
                <a:spcPts val="0"/>
              </a:spcBef>
            </a:pPr>
            <a:endParaRPr lang="en-GB" sz="1600">
              <a:solidFill>
                <a:srgbClr val="002060"/>
              </a:solidFill>
              <a:latin typeface="Arial"/>
              <a:ea typeface="Geneva"/>
              <a:cs typeface="Arial"/>
            </a:endParaRPr>
          </a:p>
          <a:p>
            <a:pPr marL="8889">
              <a:lnSpc>
                <a:spcPct val="100000"/>
              </a:lnSpc>
              <a:spcBef>
                <a:spcPts val="0"/>
              </a:spcBef>
            </a:pPr>
            <a:endParaRPr lang="en-GB" sz="1600">
              <a:solidFill>
                <a:srgbClr val="002060"/>
              </a:solidFill>
              <a:latin typeface="Arial"/>
              <a:ea typeface="Geneva"/>
              <a:cs typeface="Arial"/>
            </a:endParaRPr>
          </a:p>
          <a:p>
            <a:pPr marL="8889">
              <a:lnSpc>
                <a:spcPct val="100000"/>
              </a:lnSpc>
              <a:spcBef>
                <a:spcPts val="0"/>
              </a:spcBef>
            </a:pPr>
            <a:r>
              <a:rPr lang="en-GB" sz="1600" b="1">
                <a:solidFill>
                  <a:srgbClr val="002060"/>
                </a:solidFill>
                <a:latin typeface="Arial"/>
                <a:ea typeface="Geneva"/>
                <a:cs typeface="Arial"/>
              </a:rPr>
              <a:t>Economic</a:t>
            </a:r>
          </a:p>
          <a:p>
            <a:pPr marL="294639" indent="-285750">
              <a:lnSpc>
                <a:spcPct val="100000"/>
              </a:lnSpc>
              <a:spcBef>
                <a:spcPts val="0"/>
              </a:spcBef>
              <a:buFont typeface="Arial" panose="020B0604020202020204" pitchFamily="34" charset="0"/>
              <a:buChar char="•"/>
            </a:pPr>
            <a:r>
              <a:rPr lang="en-GB" sz="1600">
                <a:solidFill>
                  <a:srgbClr val="002060"/>
                </a:solidFill>
                <a:latin typeface="Arial"/>
                <a:ea typeface="Geneva"/>
                <a:cs typeface="Arial"/>
              </a:rPr>
              <a:t>Small and medium vans: c.£10k more expensive to purchase, but reduction in fuel costs will see payback within the asset lifecycle, making it the lowest total cost of ownership</a:t>
            </a:r>
          </a:p>
          <a:p>
            <a:pPr marL="8889">
              <a:lnSpc>
                <a:spcPct val="100000"/>
              </a:lnSpc>
              <a:spcBef>
                <a:spcPts val="0"/>
              </a:spcBef>
            </a:pPr>
            <a:endParaRPr lang="en-GB" sz="1600">
              <a:solidFill>
                <a:srgbClr val="002060"/>
              </a:solidFill>
              <a:latin typeface="Arial"/>
              <a:ea typeface="Geneva"/>
              <a:cs typeface="Arial"/>
            </a:endParaRPr>
          </a:p>
          <a:p>
            <a:pPr marL="8889">
              <a:lnSpc>
                <a:spcPct val="100000"/>
              </a:lnSpc>
              <a:spcBef>
                <a:spcPts val="0"/>
              </a:spcBef>
            </a:pPr>
            <a:endParaRPr lang="en-GB" sz="1600">
              <a:solidFill>
                <a:srgbClr val="002060"/>
              </a:solidFill>
              <a:latin typeface="Arial"/>
              <a:ea typeface="Geneva"/>
              <a:cs typeface="Arial"/>
            </a:endParaRPr>
          </a:p>
          <a:p>
            <a:pPr marL="8889">
              <a:lnSpc>
                <a:spcPct val="100000"/>
              </a:lnSpc>
              <a:spcBef>
                <a:spcPts val="0"/>
              </a:spcBef>
            </a:pPr>
            <a:r>
              <a:rPr lang="en-GB" sz="1600" b="1">
                <a:solidFill>
                  <a:srgbClr val="002060"/>
                </a:solidFill>
                <a:latin typeface="Arial"/>
                <a:ea typeface="Geneva"/>
                <a:cs typeface="Arial"/>
              </a:rPr>
              <a:t>Operational Constraints</a:t>
            </a:r>
          </a:p>
          <a:p>
            <a:pPr marL="294639" indent="-285750">
              <a:lnSpc>
                <a:spcPct val="100000"/>
              </a:lnSpc>
              <a:spcBef>
                <a:spcPts val="0"/>
              </a:spcBef>
              <a:buFont typeface="Arial" panose="020B0604020202020204" pitchFamily="34" charset="0"/>
              <a:buChar char="•"/>
            </a:pPr>
            <a:r>
              <a:rPr lang="en-GB" sz="1600">
                <a:solidFill>
                  <a:srgbClr val="002060"/>
                </a:solidFill>
                <a:latin typeface="Arial"/>
                <a:cs typeface="Arial"/>
              </a:rPr>
              <a:t>There are a number of operational constraints to be considered before replacing a diesel van with an EV</a:t>
            </a:r>
          </a:p>
          <a:p>
            <a:pPr marL="294639" indent="-285750">
              <a:lnSpc>
                <a:spcPct val="100000"/>
              </a:lnSpc>
              <a:spcBef>
                <a:spcPts val="0"/>
              </a:spcBef>
              <a:buFont typeface="Arial" panose="020B0604020202020204" pitchFamily="34" charset="0"/>
              <a:buChar char="•"/>
            </a:pPr>
            <a:r>
              <a:rPr lang="en-GB" sz="1600">
                <a:solidFill>
                  <a:srgbClr val="002060"/>
                </a:solidFill>
                <a:latin typeface="Arial"/>
                <a:cs typeface="Arial"/>
              </a:rPr>
              <a:t>We will not replace a diesel van with an EV if it will not enable operational teams to do their job – we do not want any impact on service to our customers</a:t>
            </a:r>
            <a:endParaRPr lang="en-US" sz="1600">
              <a:solidFill>
                <a:srgbClr val="002060"/>
              </a:solidFill>
              <a:latin typeface="Arial"/>
              <a:ea typeface="Geneva"/>
              <a:cs typeface="Arial"/>
            </a:endParaRPr>
          </a:p>
          <a:p>
            <a:pPr marL="742315" lvl="1" indent="-285115">
              <a:spcBef>
                <a:spcPts val="0"/>
              </a:spcBef>
              <a:buFont typeface="Arial"/>
              <a:buChar char="•"/>
            </a:pPr>
            <a:endParaRPr lang="en-GB" sz="1600">
              <a:solidFill>
                <a:srgbClr val="002060"/>
              </a:solidFill>
              <a:latin typeface="Arial"/>
              <a:ea typeface="Geneva"/>
              <a:cs typeface="Arial"/>
            </a:endParaRPr>
          </a:p>
        </p:txBody>
      </p:sp>
      <p:sp>
        <p:nvSpPr>
          <p:cNvPr id="2" name="Slide Number Placeholder 1"/>
          <p:cNvSpPr txBox="1">
            <a:spLocks/>
          </p:cNvSpPr>
          <p:nvPr/>
        </p:nvSpPr>
        <p:spPr>
          <a:xfrm>
            <a:off x="8737600" y="6248400"/>
            <a:ext cx="2540000" cy="457200"/>
          </a:xfrm>
          <a:prstGeom prst="rect">
            <a:avLst/>
          </a:prstGeom>
        </p:spPr>
        <p:txBody>
          <a:bodyPr lIns="91429" tIns="45715" rIns="91429" bIns="45715"/>
          <a:lstStyle>
            <a:defPPr>
              <a:defRPr lang="en-US"/>
            </a:defPPr>
            <a:lvl1pPr algn="l" rtl="0" eaLnBrk="0" fontAlgn="base" hangingPunct="0">
              <a:spcBef>
                <a:spcPct val="0"/>
              </a:spcBef>
              <a:spcAft>
                <a:spcPct val="0"/>
              </a:spcAft>
              <a:defRPr sz="2400" kern="1200">
                <a:solidFill>
                  <a:schemeClr val="tx1"/>
                </a:solidFill>
                <a:latin typeface="Times" pitchFamily="125" charset="0"/>
                <a:ea typeface="Geneva" pitchFamily="125" charset="-128"/>
                <a:cs typeface="+mn-cs"/>
              </a:defRPr>
            </a:lvl1pPr>
            <a:lvl2pPr marL="457200" algn="l" rtl="0" eaLnBrk="0" fontAlgn="base" hangingPunct="0">
              <a:spcBef>
                <a:spcPct val="0"/>
              </a:spcBef>
              <a:spcAft>
                <a:spcPct val="0"/>
              </a:spcAft>
              <a:defRPr sz="2400" kern="1200">
                <a:solidFill>
                  <a:schemeClr val="tx1"/>
                </a:solidFill>
                <a:latin typeface="Times" pitchFamily="125" charset="0"/>
                <a:ea typeface="Geneva" pitchFamily="125" charset="-128"/>
                <a:cs typeface="+mn-cs"/>
              </a:defRPr>
            </a:lvl2pPr>
            <a:lvl3pPr marL="914400" algn="l" rtl="0" eaLnBrk="0" fontAlgn="base" hangingPunct="0">
              <a:spcBef>
                <a:spcPct val="0"/>
              </a:spcBef>
              <a:spcAft>
                <a:spcPct val="0"/>
              </a:spcAft>
              <a:defRPr sz="2400" kern="1200">
                <a:solidFill>
                  <a:schemeClr val="tx1"/>
                </a:solidFill>
                <a:latin typeface="Times" pitchFamily="125" charset="0"/>
                <a:ea typeface="Geneva" pitchFamily="125" charset="-128"/>
                <a:cs typeface="+mn-cs"/>
              </a:defRPr>
            </a:lvl3pPr>
            <a:lvl4pPr marL="1371600" algn="l" rtl="0" eaLnBrk="0" fontAlgn="base" hangingPunct="0">
              <a:spcBef>
                <a:spcPct val="0"/>
              </a:spcBef>
              <a:spcAft>
                <a:spcPct val="0"/>
              </a:spcAft>
              <a:defRPr sz="2400" kern="1200">
                <a:solidFill>
                  <a:schemeClr val="tx1"/>
                </a:solidFill>
                <a:latin typeface="Times" pitchFamily="125" charset="0"/>
                <a:ea typeface="Geneva" pitchFamily="125" charset="-128"/>
                <a:cs typeface="+mn-cs"/>
              </a:defRPr>
            </a:lvl4pPr>
            <a:lvl5pPr marL="1828800" algn="l" rtl="0" eaLnBrk="0" fontAlgn="base" hangingPunct="0">
              <a:spcBef>
                <a:spcPct val="0"/>
              </a:spcBef>
              <a:spcAft>
                <a:spcPct val="0"/>
              </a:spcAft>
              <a:defRPr sz="2400" kern="1200">
                <a:solidFill>
                  <a:schemeClr val="tx1"/>
                </a:solidFill>
                <a:latin typeface="Times" pitchFamily="125" charset="0"/>
                <a:ea typeface="Geneva" pitchFamily="125" charset="-128"/>
                <a:cs typeface="+mn-cs"/>
              </a:defRPr>
            </a:lvl5pPr>
            <a:lvl6pPr marL="2286000" algn="l" defTabSz="914400" rtl="0" eaLnBrk="1" latinLnBrk="0" hangingPunct="1">
              <a:defRPr sz="2400" kern="1200">
                <a:solidFill>
                  <a:schemeClr val="tx1"/>
                </a:solidFill>
                <a:latin typeface="Times" pitchFamily="125" charset="0"/>
                <a:ea typeface="Geneva" pitchFamily="125" charset="-128"/>
                <a:cs typeface="+mn-cs"/>
              </a:defRPr>
            </a:lvl6pPr>
            <a:lvl7pPr marL="2743200" algn="l" defTabSz="914400" rtl="0" eaLnBrk="1" latinLnBrk="0" hangingPunct="1">
              <a:defRPr sz="2400" kern="1200">
                <a:solidFill>
                  <a:schemeClr val="tx1"/>
                </a:solidFill>
                <a:latin typeface="Times" pitchFamily="125" charset="0"/>
                <a:ea typeface="Geneva" pitchFamily="125" charset="-128"/>
                <a:cs typeface="+mn-cs"/>
              </a:defRPr>
            </a:lvl7pPr>
            <a:lvl8pPr marL="3200400" algn="l" defTabSz="914400" rtl="0" eaLnBrk="1" latinLnBrk="0" hangingPunct="1">
              <a:defRPr sz="2400" kern="1200">
                <a:solidFill>
                  <a:schemeClr val="tx1"/>
                </a:solidFill>
                <a:latin typeface="Times" pitchFamily="125" charset="0"/>
                <a:ea typeface="Geneva" pitchFamily="125" charset="-128"/>
                <a:cs typeface="+mn-cs"/>
              </a:defRPr>
            </a:lvl8pPr>
            <a:lvl9pPr marL="3657600" algn="l" defTabSz="914400" rtl="0" eaLnBrk="1" latinLnBrk="0" hangingPunct="1">
              <a:defRPr sz="2400" kern="1200">
                <a:solidFill>
                  <a:schemeClr val="tx1"/>
                </a:solidFill>
                <a:latin typeface="Times" pitchFamily="125" charset="0"/>
                <a:ea typeface="Geneva" pitchFamily="125" charset="-128"/>
                <a:cs typeface="+mn-cs"/>
              </a:defRPr>
            </a:lvl9pPr>
          </a:lstStyle>
          <a:p>
            <a:pPr algn="r"/>
            <a:fld id="{94525411-3536-491D-8E04-9910E98113F5}" type="slidenum">
              <a:rPr lang="en-GB" sz="1200">
                <a:solidFill>
                  <a:prstClr val="black">
                    <a:tint val="75000"/>
                  </a:prstClr>
                </a:solidFill>
                <a:latin typeface="Arial MT Md"/>
              </a:rPr>
              <a:pPr algn="r"/>
              <a:t>23</a:t>
            </a:fld>
            <a:endParaRPr lang="en-GB" sz="1200">
              <a:solidFill>
                <a:prstClr val="black">
                  <a:tint val="75000"/>
                </a:prstClr>
              </a:solidFill>
              <a:latin typeface="Arial MT Md"/>
            </a:endParaRPr>
          </a:p>
        </p:txBody>
      </p:sp>
      <p:sp>
        <p:nvSpPr>
          <p:cNvPr id="12" name="object 5"/>
          <p:cNvSpPr/>
          <p:nvPr/>
        </p:nvSpPr>
        <p:spPr>
          <a:xfrm>
            <a:off x="535783" y="410766"/>
            <a:ext cx="11120437" cy="0"/>
          </a:xfrm>
          <a:custGeom>
            <a:avLst/>
            <a:gdLst/>
            <a:ahLst/>
            <a:cxnLst/>
            <a:rect l="l" t="t" r="r" b="b"/>
            <a:pathLst>
              <a:path w="11861800">
                <a:moveTo>
                  <a:pt x="0" y="0"/>
                </a:moveTo>
                <a:lnTo>
                  <a:pt x="11861800" y="0"/>
                </a:lnTo>
              </a:path>
            </a:pathLst>
          </a:custGeom>
          <a:ln w="25400">
            <a:solidFill>
              <a:schemeClr val="accent1"/>
            </a:solidFill>
          </a:ln>
        </p:spPr>
        <p:txBody>
          <a:bodyPr wrap="square" lIns="0" tIns="0" rIns="0" bIns="0" rtlCol="0"/>
          <a:lstStyle/>
          <a:p>
            <a:pPr defTabSz="640409"/>
            <a:endParaRPr>
              <a:solidFill>
                <a:srgbClr val="1F497D">
                  <a:lumMod val="60000"/>
                  <a:lumOff val="40000"/>
                </a:srgbClr>
              </a:solidFill>
              <a:ea typeface="+mn-ea"/>
              <a:cs typeface="+mn-cs"/>
            </a:endParaRPr>
          </a:p>
        </p:txBody>
      </p:sp>
      <p:sp>
        <p:nvSpPr>
          <p:cNvPr id="8" name="object 2">
            <a:extLst>
              <a:ext uri="{FF2B5EF4-FFF2-40B4-BE49-F238E27FC236}">
                <a16:creationId xmlns:a16="http://schemas.microsoft.com/office/drawing/2014/main" id="{873B275A-B125-4353-B1C9-C791E9501AF1}"/>
              </a:ext>
            </a:extLst>
          </p:cNvPr>
          <p:cNvSpPr txBox="1"/>
          <p:nvPr/>
        </p:nvSpPr>
        <p:spPr>
          <a:xfrm>
            <a:off x="535783" y="350072"/>
            <a:ext cx="11511600" cy="408639"/>
          </a:xfrm>
          <a:prstGeom prst="rect">
            <a:avLst/>
          </a:prstGeom>
        </p:spPr>
        <p:txBody>
          <a:bodyPr vert="horz" wrap="square" lIns="0" tIns="80138" rIns="0" bIns="0" rtlCol="0" anchor="t">
            <a:spAutoFit/>
          </a:bodyPr>
          <a:lstStyle/>
          <a:p>
            <a:pPr marL="8255" marR="3175" defTabSz="640859">
              <a:lnSpc>
                <a:spcPts val="2812"/>
              </a:lnSpc>
              <a:spcBef>
                <a:spcPts val="0"/>
              </a:spcBef>
            </a:pPr>
            <a:r>
              <a:rPr lang="en-GB" sz="2000" b="1" spc="-84">
                <a:solidFill>
                  <a:srgbClr val="0067B2"/>
                </a:solidFill>
                <a:latin typeface="Arial MT Md"/>
                <a:ea typeface="Geneva"/>
                <a:cs typeface="Avenir LT Std 65 Medium"/>
              </a:rPr>
              <a:t>Commercial Fleet – Transition to Electric Vehicles</a:t>
            </a:r>
          </a:p>
        </p:txBody>
      </p:sp>
      <p:sp>
        <p:nvSpPr>
          <p:cNvPr id="13" name="Hexagon 12">
            <a:extLst>
              <a:ext uri="{FF2B5EF4-FFF2-40B4-BE49-F238E27FC236}">
                <a16:creationId xmlns:a16="http://schemas.microsoft.com/office/drawing/2014/main" id="{6F99A6AB-B8AC-4DFE-B2F4-520414CEA1A3}"/>
              </a:ext>
            </a:extLst>
          </p:cNvPr>
          <p:cNvSpPr/>
          <p:nvPr/>
        </p:nvSpPr>
        <p:spPr bwMode="auto">
          <a:xfrm>
            <a:off x="7382405" y="3643360"/>
            <a:ext cx="1584176" cy="1296144"/>
          </a:xfrm>
          <a:prstGeom prst="hexagon">
            <a:avLst/>
          </a:prstGeom>
          <a:solidFill>
            <a:schemeClr val="accent5">
              <a:lumMod val="90000"/>
            </a:schemeClr>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numCol="1" rtlCol="0" anchor="ctr" anchorCtr="0" compatLnSpc="1">
            <a:prstTxWarp prst="textNoShape">
              <a:avLst/>
            </a:prstTxWarp>
          </a:bodyPr>
          <a:lstStyle/>
          <a:p>
            <a:pPr algn="ctr" eaLnBrk="0" hangingPunct="0"/>
            <a:r>
              <a:rPr lang="en-GB" sz="800" b="1">
                <a:solidFill>
                  <a:srgbClr val="002060"/>
                </a:solidFill>
                <a:latin typeface="Arial MT"/>
                <a:ea typeface="Geneva" charset="0"/>
              </a:rPr>
              <a:t>Infrastructure</a:t>
            </a:r>
          </a:p>
          <a:p>
            <a:pPr marL="171450" lvl="0" indent="-171450">
              <a:buFont typeface="Arial" panose="020B0604020202020204" pitchFamily="34" charset="0"/>
              <a:buChar char="•"/>
            </a:pPr>
            <a:endParaRPr lang="en-GB" sz="800">
              <a:solidFill>
                <a:srgbClr val="002060"/>
              </a:solidFill>
            </a:endParaRPr>
          </a:p>
          <a:p>
            <a:pPr marL="171450" lvl="0" indent="-171450">
              <a:buFont typeface="Arial" panose="020B0604020202020204" pitchFamily="34" charset="0"/>
              <a:buChar char="•"/>
            </a:pPr>
            <a:r>
              <a:rPr lang="en-GB" sz="800">
                <a:solidFill>
                  <a:srgbClr val="002060"/>
                </a:solidFill>
              </a:rPr>
              <a:t>Requirement to take vehicle home for business purposes</a:t>
            </a:r>
          </a:p>
          <a:p>
            <a:pPr marL="171450" lvl="0" indent="-171450">
              <a:buFont typeface="Arial" panose="020B0604020202020204" pitchFamily="34" charset="0"/>
              <a:buChar char="•"/>
            </a:pPr>
            <a:r>
              <a:rPr lang="en-GB" sz="800">
                <a:solidFill>
                  <a:srgbClr val="002060"/>
                </a:solidFill>
              </a:rPr>
              <a:t>Standby</a:t>
            </a:r>
          </a:p>
          <a:p>
            <a:pPr marL="171450" lvl="0" indent="-171450">
              <a:buFont typeface="Arial" panose="020B0604020202020204" pitchFamily="34" charset="0"/>
              <a:buChar char="•"/>
            </a:pPr>
            <a:r>
              <a:rPr lang="en-GB" sz="800">
                <a:solidFill>
                  <a:srgbClr val="002060"/>
                </a:solidFill>
              </a:rPr>
              <a:t>Direct to site working arrangements</a:t>
            </a:r>
          </a:p>
        </p:txBody>
      </p:sp>
      <p:sp>
        <p:nvSpPr>
          <p:cNvPr id="15" name="Hexagon 14">
            <a:extLst>
              <a:ext uri="{FF2B5EF4-FFF2-40B4-BE49-F238E27FC236}">
                <a16:creationId xmlns:a16="http://schemas.microsoft.com/office/drawing/2014/main" id="{4B03E1F0-B0F8-4913-88DE-8DF8C18BDAED}"/>
              </a:ext>
            </a:extLst>
          </p:cNvPr>
          <p:cNvSpPr/>
          <p:nvPr/>
        </p:nvSpPr>
        <p:spPr bwMode="auto">
          <a:xfrm>
            <a:off x="10252986" y="3618760"/>
            <a:ext cx="1584176" cy="1296144"/>
          </a:xfrm>
          <a:prstGeom prst="hexagon">
            <a:avLst/>
          </a:prstGeom>
          <a:solidFill>
            <a:schemeClr val="accent5">
              <a:lumMod val="90000"/>
            </a:schemeClr>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numCol="1" rtlCol="0" anchor="ctr" anchorCtr="0" compatLnSpc="1">
            <a:prstTxWarp prst="textNoShape">
              <a:avLst/>
            </a:prstTxWarp>
          </a:bodyPr>
          <a:lstStyle/>
          <a:p>
            <a:pPr algn="ctr" eaLnBrk="0" hangingPunct="0"/>
            <a:r>
              <a:rPr lang="en-GB" sz="800" b="1">
                <a:solidFill>
                  <a:srgbClr val="002060"/>
                </a:solidFill>
                <a:latin typeface="Arial MT"/>
                <a:ea typeface="Geneva" charset="0"/>
              </a:rPr>
              <a:t>Maintenance</a:t>
            </a:r>
          </a:p>
          <a:p>
            <a:pPr algn="ctr" eaLnBrk="0" hangingPunct="0"/>
            <a:endParaRPr lang="en-GB" sz="800" b="1">
              <a:solidFill>
                <a:srgbClr val="002060"/>
              </a:solidFill>
              <a:latin typeface="Arial MT"/>
              <a:ea typeface="Geneva" charset="0"/>
            </a:endParaRPr>
          </a:p>
          <a:p>
            <a:pPr marL="285750" indent="-285750" eaLnBrk="0" hangingPunct="0">
              <a:buFont typeface="Arial" panose="020B0604020202020204" pitchFamily="34" charset="0"/>
              <a:buChar char="•"/>
            </a:pPr>
            <a:r>
              <a:rPr lang="en-GB" sz="800">
                <a:solidFill>
                  <a:srgbClr val="002060"/>
                </a:solidFill>
                <a:latin typeface="Arial MT"/>
                <a:ea typeface="Geneva" charset="0"/>
              </a:rPr>
              <a:t>Availability of garage and supplier network to service and maintenance EVs</a:t>
            </a:r>
          </a:p>
        </p:txBody>
      </p:sp>
      <p:sp>
        <p:nvSpPr>
          <p:cNvPr id="16" name="Hexagon 15">
            <a:extLst>
              <a:ext uri="{FF2B5EF4-FFF2-40B4-BE49-F238E27FC236}">
                <a16:creationId xmlns:a16="http://schemas.microsoft.com/office/drawing/2014/main" id="{DEC79C23-DD4B-4214-8260-C8C68EECB570}"/>
              </a:ext>
            </a:extLst>
          </p:cNvPr>
          <p:cNvSpPr/>
          <p:nvPr/>
        </p:nvSpPr>
        <p:spPr bwMode="auto">
          <a:xfrm>
            <a:off x="7303818" y="1323921"/>
            <a:ext cx="1584176" cy="1296144"/>
          </a:xfrm>
          <a:prstGeom prst="hexagon">
            <a:avLst/>
          </a:prstGeom>
          <a:solidFill>
            <a:schemeClr val="accent5">
              <a:lumMod val="90000"/>
            </a:schemeClr>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numCol="1" rtlCol="0" anchor="ctr" anchorCtr="0" compatLnSpc="1">
            <a:prstTxWarp prst="textNoShape">
              <a:avLst/>
            </a:prstTxWarp>
          </a:bodyPr>
          <a:lstStyle/>
          <a:p>
            <a:pPr algn="ctr" eaLnBrk="0" hangingPunct="0"/>
            <a:r>
              <a:rPr lang="en-GB" sz="800" b="1">
                <a:solidFill>
                  <a:srgbClr val="002060"/>
                </a:solidFill>
                <a:latin typeface="Arial MT"/>
                <a:ea typeface="Geneva" charset="0"/>
              </a:rPr>
              <a:t>Vehicle Technology</a:t>
            </a:r>
          </a:p>
          <a:p>
            <a:pPr marL="171450" indent="-171450" eaLnBrk="0" hangingPunct="0">
              <a:buFont typeface="Arial" panose="020B0604020202020204" pitchFamily="34" charset="0"/>
              <a:buChar char="•"/>
            </a:pPr>
            <a:endParaRPr lang="en-GB" sz="800">
              <a:solidFill>
                <a:srgbClr val="002060"/>
              </a:solidFill>
              <a:latin typeface="Arial MT"/>
              <a:ea typeface="Geneva" charset="0"/>
            </a:endParaRPr>
          </a:p>
          <a:p>
            <a:pPr marL="171450" indent="-171450" eaLnBrk="0" hangingPunct="0">
              <a:buFont typeface="Arial" panose="020B0604020202020204" pitchFamily="34" charset="0"/>
              <a:buChar char="•"/>
            </a:pPr>
            <a:r>
              <a:rPr lang="en-GB" sz="800">
                <a:solidFill>
                  <a:srgbClr val="002060"/>
                </a:solidFill>
                <a:latin typeface="Arial MT"/>
                <a:ea typeface="Geneva" charset="0"/>
              </a:rPr>
              <a:t>Range</a:t>
            </a:r>
          </a:p>
          <a:p>
            <a:pPr marL="171450" indent="-171450" eaLnBrk="0" hangingPunct="0">
              <a:buFont typeface="Arial" panose="020B0604020202020204" pitchFamily="34" charset="0"/>
              <a:buChar char="•"/>
            </a:pPr>
            <a:r>
              <a:rPr lang="en-GB" sz="800">
                <a:solidFill>
                  <a:srgbClr val="002060"/>
                </a:solidFill>
                <a:latin typeface="Arial MT"/>
                <a:ea typeface="Geneva" charset="0"/>
              </a:rPr>
              <a:t>Payload / Towing capability</a:t>
            </a:r>
          </a:p>
          <a:p>
            <a:pPr marL="171450" indent="-171450" eaLnBrk="0" hangingPunct="0">
              <a:buFont typeface="Arial" panose="020B0604020202020204" pitchFamily="34" charset="0"/>
              <a:buChar char="•"/>
            </a:pPr>
            <a:r>
              <a:rPr lang="en-GB" sz="800">
                <a:solidFill>
                  <a:srgbClr val="002060"/>
                </a:solidFill>
                <a:latin typeface="Arial MT"/>
                <a:ea typeface="Geneva" charset="0"/>
              </a:rPr>
              <a:t>Compatibility with on-board equipment</a:t>
            </a:r>
          </a:p>
          <a:p>
            <a:pPr marL="171450" indent="-171450" eaLnBrk="0" hangingPunct="0">
              <a:buFont typeface="Arial" panose="020B0604020202020204" pitchFamily="34" charset="0"/>
              <a:buChar char="•"/>
            </a:pPr>
            <a:r>
              <a:rPr lang="en-GB" sz="800">
                <a:solidFill>
                  <a:srgbClr val="002060"/>
                </a:solidFill>
                <a:latin typeface="Arial MT"/>
                <a:ea typeface="Geneva" charset="0"/>
              </a:rPr>
              <a:t>Length of time taken to charge</a:t>
            </a:r>
          </a:p>
        </p:txBody>
      </p:sp>
      <p:sp>
        <p:nvSpPr>
          <p:cNvPr id="17" name="Hexagon 16">
            <a:extLst>
              <a:ext uri="{FF2B5EF4-FFF2-40B4-BE49-F238E27FC236}">
                <a16:creationId xmlns:a16="http://schemas.microsoft.com/office/drawing/2014/main" id="{518A8173-3522-44FF-B0A1-399E36306161}"/>
              </a:ext>
            </a:extLst>
          </p:cNvPr>
          <p:cNvSpPr/>
          <p:nvPr/>
        </p:nvSpPr>
        <p:spPr bwMode="auto">
          <a:xfrm>
            <a:off x="10252986" y="1404689"/>
            <a:ext cx="1584176" cy="1296144"/>
          </a:xfrm>
          <a:prstGeom prst="hexagon">
            <a:avLst/>
          </a:prstGeom>
          <a:solidFill>
            <a:schemeClr val="accent5">
              <a:lumMod val="90000"/>
            </a:schemeClr>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numCol="1" rtlCol="0" anchor="ctr" anchorCtr="0" compatLnSpc="1">
            <a:prstTxWarp prst="textNoShape">
              <a:avLst/>
            </a:prstTxWarp>
          </a:bodyPr>
          <a:lstStyle/>
          <a:p>
            <a:pPr algn="ctr" eaLnBrk="0" hangingPunct="0"/>
            <a:r>
              <a:rPr lang="en-GB" sz="800" b="1">
                <a:solidFill>
                  <a:srgbClr val="002060"/>
                </a:solidFill>
                <a:latin typeface="Arial MT"/>
                <a:ea typeface="Geneva" charset="0"/>
              </a:rPr>
              <a:t>Infrastructure</a:t>
            </a:r>
          </a:p>
          <a:p>
            <a:pPr marL="171450" lvl="0" indent="-171450">
              <a:buFont typeface="Arial" panose="020B0604020202020204" pitchFamily="34" charset="0"/>
              <a:buChar char="•"/>
            </a:pPr>
            <a:endParaRPr lang="en-GB" sz="800">
              <a:solidFill>
                <a:srgbClr val="002060"/>
              </a:solidFill>
            </a:endParaRPr>
          </a:p>
          <a:p>
            <a:pPr marL="171450" lvl="0" indent="-171450">
              <a:buFont typeface="Arial" panose="020B0604020202020204" pitchFamily="34" charset="0"/>
              <a:buChar char="•"/>
            </a:pPr>
            <a:r>
              <a:rPr lang="en-GB" sz="800">
                <a:solidFill>
                  <a:srgbClr val="002060"/>
                </a:solidFill>
              </a:rPr>
              <a:t>Availability of public infrastructure</a:t>
            </a:r>
          </a:p>
          <a:p>
            <a:pPr marL="171450" lvl="0" indent="-171450">
              <a:buFont typeface="Arial" panose="020B0604020202020204" pitchFamily="34" charset="0"/>
              <a:buChar char="•"/>
            </a:pPr>
            <a:r>
              <a:rPr lang="en-GB" sz="800">
                <a:solidFill>
                  <a:srgbClr val="002060"/>
                </a:solidFill>
              </a:rPr>
              <a:t>Availability of workplace charging</a:t>
            </a:r>
          </a:p>
          <a:p>
            <a:pPr marL="171450" lvl="0" indent="-171450">
              <a:buFont typeface="Arial" panose="020B0604020202020204" pitchFamily="34" charset="0"/>
              <a:buChar char="•"/>
            </a:pPr>
            <a:r>
              <a:rPr lang="en-GB" sz="800">
                <a:solidFill>
                  <a:srgbClr val="002060"/>
                </a:solidFill>
              </a:rPr>
              <a:t>Opportunity to install home charging</a:t>
            </a:r>
          </a:p>
          <a:p>
            <a:pPr eaLnBrk="0" hangingPunct="0"/>
            <a:endParaRPr lang="en-GB" sz="800">
              <a:solidFill>
                <a:srgbClr val="002060"/>
              </a:solidFill>
              <a:latin typeface="Arial MT"/>
              <a:ea typeface="Geneva" charset="0"/>
            </a:endParaRPr>
          </a:p>
        </p:txBody>
      </p:sp>
      <p:grpSp>
        <p:nvGrpSpPr>
          <p:cNvPr id="18" name="Diagram group">
            <a:extLst>
              <a:ext uri="{FF2B5EF4-FFF2-40B4-BE49-F238E27FC236}">
                <a16:creationId xmlns:a16="http://schemas.microsoft.com/office/drawing/2014/main" id="{518C1932-2755-4B33-9FAF-05468A241615}"/>
              </a:ext>
            </a:extLst>
          </p:cNvPr>
          <p:cNvGrpSpPr/>
          <p:nvPr/>
        </p:nvGrpSpPr>
        <p:grpSpPr>
          <a:xfrm>
            <a:off x="8737600" y="2209818"/>
            <a:ext cx="1584176" cy="1599504"/>
            <a:chOff x="2665544" y="1846177"/>
            <a:chExt cx="2445775" cy="2200444"/>
          </a:xfrm>
          <a:solidFill>
            <a:srgbClr val="002060"/>
          </a:solidFill>
          <a:scene3d>
            <a:camera prst="orthographicFront">
              <a:rot lat="0" lon="0" rev="0"/>
            </a:camera>
            <a:lightRig rig="contrasting" dir="t">
              <a:rot lat="0" lon="0" rev="1500000"/>
            </a:lightRig>
          </a:scene3d>
        </p:grpSpPr>
        <p:grpSp>
          <p:nvGrpSpPr>
            <p:cNvPr id="19" name="Group 18">
              <a:extLst>
                <a:ext uri="{FF2B5EF4-FFF2-40B4-BE49-F238E27FC236}">
                  <a16:creationId xmlns:a16="http://schemas.microsoft.com/office/drawing/2014/main" id="{15EF8A87-4B12-4C3A-9239-68B0EB8080D1}"/>
                </a:ext>
              </a:extLst>
            </p:cNvPr>
            <p:cNvGrpSpPr/>
            <p:nvPr/>
          </p:nvGrpSpPr>
          <p:grpSpPr>
            <a:xfrm>
              <a:off x="2665544" y="1846177"/>
              <a:ext cx="2445775" cy="2200444"/>
              <a:chOff x="2665544" y="1846177"/>
              <a:chExt cx="2445775" cy="2200444"/>
            </a:xfrm>
            <a:grpFill/>
            <a:scene3d>
              <a:camera prst="orthographicFront">
                <a:rot lat="0" lon="0" rev="0"/>
              </a:camera>
              <a:lightRig rig="contrasting" dir="t">
                <a:rot lat="0" lon="0" rev="1500000"/>
              </a:lightRig>
            </a:scene3d>
          </p:grpSpPr>
          <p:sp>
            <p:nvSpPr>
              <p:cNvPr id="20" name="Oval 19">
                <a:extLst>
                  <a:ext uri="{FF2B5EF4-FFF2-40B4-BE49-F238E27FC236}">
                    <a16:creationId xmlns:a16="http://schemas.microsoft.com/office/drawing/2014/main" id="{A6515A16-0F2D-4170-8970-66BB46740FC7}"/>
                  </a:ext>
                </a:extLst>
              </p:cNvPr>
              <p:cNvSpPr/>
              <p:nvPr/>
            </p:nvSpPr>
            <p:spPr>
              <a:xfrm>
                <a:off x="2665544" y="1846177"/>
                <a:ext cx="2445775" cy="2200444"/>
              </a:xfrm>
              <a:prstGeom prst="ellipse">
                <a:avLst/>
              </a:prstGeom>
              <a:grpFill/>
              <a:ln>
                <a:noFill/>
              </a:ln>
              <a:effectLst>
                <a:outerShdw blurRad="149987" dist="250190" dir="8460000" algn="ctr">
                  <a:srgbClr val="000000">
                    <a:alpha val="28000"/>
                  </a:srgbClr>
                </a:outerShdw>
              </a:effectLst>
              <a:sp3d prstMaterial="metal">
                <a:bevelT w="88900" h="88900"/>
              </a:sp3d>
            </p:spPr>
            <p:style>
              <a:lnRef idx="0">
                <a:scrgbClr r="0" g="0" b="0"/>
              </a:lnRef>
              <a:fillRef idx="1">
                <a:scrgbClr r="0" g="0" b="0"/>
              </a:fillRef>
              <a:effectRef idx="1">
                <a:scrgbClr r="0" g="0" b="0"/>
              </a:effectRef>
              <a:fontRef idx="minor">
                <a:schemeClr val="lt1"/>
              </a:fontRef>
            </p:style>
          </p:sp>
          <p:sp>
            <p:nvSpPr>
              <p:cNvPr id="21" name="Oval 4">
                <a:extLst>
                  <a:ext uri="{FF2B5EF4-FFF2-40B4-BE49-F238E27FC236}">
                    <a16:creationId xmlns:a16="http://schemas.microsoft.com/office/drawing/2014/main" id="{FF54EF04-AA20-415C-B6E5-644207A25C22}"/>
                  </a:ext>
                </a:extLst>
              </p:cNvPr>
              <p:cNvSpPr txBox="1"/>
              <p:nvPr/>
            </p:nvSpPr>
            <p:spPr>
              <a:xfrm>
                <a:off x="3023719" y="2168425"/>
                <a:ext cx="1729425" cy="1555948"/>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GB" sz="1400" kern="1200">
                    <a:solidFill>
                      <a:schemeClr val="bg1"/>
                    </a:solidFill>
                  </a:rPr>
                  <a:t>Operational Constraints</a:t>
                </a:r>
              </a:p>
            </p:txBody>
          </p:sp>
        </p:grpSp>
      </p:grpSp>
    </p:spTree>
    <p:custDataLst>
      <p:tags r:id="rId1"/>
    </p:custDataLst>
    <p:extLst>
      <p:ext uri="{BB962C8B-B14F-4D97-AF65-F5344CB8AC3E}">
        <p14:creationId xmlns:p14="http://schemas.microsoft.com/office/powerpoint/2010/main" val="1489092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52B435D-9F75-4642-8E85-F26CC919E5D7}"/>
              </a:ext>
            </a:extLst>
          </p:cNvPr>
          <p:cNvSpPr/>
          <p:nvPr/>
        </p:nvSpPr>
        <p:spPr>
          <a:xfrm>
            <a:off x="0" y="5067300"/>
            <a:ext cx="12192000" cy="1790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Slide Number Placeholder 1"/>
          <p:cNvSpPr txBox="1">
            <a:spLocks/>
          </p:cNvSpPr>
          <p:nvPr/>
        </p:nvSpPr>
        <p:spPr>
          <a:xfrm>
            <a:off x="8737600" y="6248400"/>
            <a:ext cx="2540000" cy="457200"/>
          </a:xfrm>
          <a:prstGeom prst="rect">
            <a:avLst/>
          </a:prstGeom>
        </p:spPr>
        <p:txBody>
          <a:bodyPr lIns="91429" tIns="45715" rIns="91429" bIns="45715"/>
          <a:lstStyle>
            <a:defPPr>
              <a:defRPr lang="en-US"/>
            </a:defPPr>
            <a:lvl1pPr algn="l" rtl="0" eaLnBrk="0" fontAlgn="base" hangingPunct="0">
              <a:spcBef>
                <a:spcPct val="0"/>
              </a:spcBef>
              <a:spcAft>
                <a:spcPct val="0"/>
              </a:spcAft>
              <a:defRPr sz="2400" kern="1200">
                <a:solidFill>
                  <a:schemeClr val="tx1"/>
                </a:solidFill>
                <a:latin typeface="Times" pitchFamily="125" charset="0"/>
                <a:ea typeface="Geneva" pitchFamily="125" charset="-128"/>
                <a:cs typeface="+mn-cs"/>
              </a:defRPr>
            </a:lvl1pPr>
            <a:lvl2pPr marL="457200" algn="l" rtl="0" eaLnBrk="0" fontAlgn="base" hangingPunct="0">
              <a:spcBef>
                <a:spcPct val="0"/>
              </a:spcBef>
              <a:spcAft>
                <a:spcPct val="0"/>
              </a:spcAft>
              <a:defRPr sz="2400" kern="1200">
                <a:solidFill>
                  <a:schemeClr val="tx1"/>
                </a:solidFill>
                <a:latin typeface="Times" pitchFamily="125" charset="0"/>
                <a:ea typeface="Geneva" pitchFamily="125" charset="-128"/>
                <a:cs typeface="+mn-cs"/>
              </a:defRPr>
            </a:lvl2pPr>
            <a:lvl3pPr marL="914400" algn="l" rtl="0" eaLnBrk="0" fontAlgn="base" hangingPunct="0">
              <a:spcBef>
                <a:spcPct val="0"/>
              </a:spcBef>
              <a:spcAft>
                <a:spcPct val="0"/>
              </a:spcAft>
              <a:defRPr sz="2400" kern="1200">
                <a:solidFill>
                  <a:schemeClr val="tx1"/>
                </a:solidFill>
                <a:latin typeface="Times" pitchFamily="125" charset="0"/>
                <a:ea typeface="Geneva" pitchFamily="125" charset="-128"/>
                <a:cs typeface="+mn-cs"/>
              </a:defRPr>
            </a:lvl3pPr>
            <a:lvl4pPr marL="1371600" algn="l" rtl="0" eaLnBrk="0" fontAlgn="base" hangingPunct="0">
              <a:spcBef>
                <a:spcPct val="0"/>
              </a:spcBef>
              <a:spcAft>
                <a:spcPct val="0"/>
              </a:spcAft>
              <a:defRPr sz="2400" kern="1200">
                <a:solidFill>
                  <a:schemeClr val="tx1"/>
                </a:solidFill>
                <a:latin typeface="Times" pitchFamily="125" charset="0"/>
                <a:ea typeface="Geneva" pitchFamily="125" charset="-128"/>
                <a:cs typeface="+mn-cs"/>
              </a:defRPr>
            </a:lvl4pPr>
            <a:lvl5pPr marL="1828800" algn="l" rtl="0" eaLnBrk="0" fontAlgn="base" hangingPunct="0">
              <a:spcBef>
                <a:spcPct val="0"/>
              </a:spcBef>
              <a:spcAft>
                <a:spcPct val="0"/>
              </a:spcAft>
              <a:defRPr sz="2400" kern="1200">
                <a:solidFill>
                  <a:schemeClr val="tx1"/>
                </a:solidFill>
                <a:latin typeface="Times" pitchFamily="125" charset="0"/>
                <a:ea typeface="Geneva" pitchFamily="125" charset="-128"/>
                <a:cs typeface="+mn-cs"/>
              </a:defRPr>
            </a:lvl5pPr>
            <a:lvl6pPr marL="2286000" algn="l" defTabSz="914400" rtl="0" eaLnBrk="1" latinLnBrk="0" hangingPunct="1">
              <a:defRPr sz="2400" kern="1200">
                <a:solidFill>
                  <a:schemeClr val="tx1"/>
                </a:solidFill>
                <a:latin typeface="Times" pitchFamily="125" charset="0"/>
                <a:ea typeface="Geneva" pitchFamily="125" charset="-128"/>
                <a:cs typeface="+mn-cs"/>
              </a:defRPr>
            </a:lvl6pPr>
            <a:lvl7pPr marL="2743200" algn="l" defTabSz="914400" rtl="0" eaLnBrk="1" latinLnBrk="0" hangingPunct="1">
              <a:defRPr sz="2400" kern="1200">
                <a:solidFill>
                  <a:schemeClr val="tx1"/>
                </a:solidFill>
                <a:latin typeface="Times" pitchFamily="125" charset="0"/>
                <a:ea typeface="Geneva" pitchFamily="125" charset="-128"/>
                <a:cs typeface="+mn-cs"/>
              </a:defRPr>
            </a:lvl7pPr>
            <a:lvl8pPr marL="3200400" algn="l" defTabSz="914400" rtl="0" eaLnBrk="1" latinLnBrk="0" hangingPunct="1">
              <a:defRPr sz="2400" kern="1200">
                <a:solidFill>
                  <a:schemeClr val="tx1"/>
                </a:solidFill>
                <a:latin typeface="Times" pitchFamily="125" charset="0"/>
                <a:ea typeface="Geneva" pitchFamily="125" charset="-128"/>
                <a:cs typeface="+mn-cs"/>
              </a:defRPr>
            </a:lvl8pPr>
            <a:lvl9pPr marL="3657600" algn="l" defTabSz="914400" rtl="0" eaLnBrk="1" latinLnBrk="0" hangingPunct="1">
              <a:defRPr sz="2400" kern="1200">
                <a:solidFill>
                  <a:schemeClr val="tx1"/>
                </a:solidFill>
                <a:latin typeface="Times" pitchFamily="125" charset="0"/>
                <a:ea typeface="Geneva" pitchFamily="125" charset="-128"/>
                <a:cs typeface="+mn-cs"/>
              </a:defRPr>
            </a:lvl9pPr>
          </a:lstStyle>
          <a:p>
            <a:pPr algn="r"/>
            <a:fld id="{94525411-3536-491D-8E04-9910E98113F5}" type="slidenum">
              <a:rPr lang="en-GB" sz="1200">
                <a:solidFill>
                  <a:prstClr val="black">
                    <a:tint val="75000"/>
                  </a:prstClr>
                </a:solidFill>
                <a:latin typeface="Arial MT Md"/>
              </a:rPr>
              <a:pPr algn="r"/>
              <a:t>24</a:t>
            </a:fld>
            <a:endParaRPr lang="en-GB" sz="1200">
              <a:solidFill>
                <a:prstClr val="black">
                  <a:tint val="75000"/>
                </a:prstClr>
              </a:solidFill>
              <a:latin typeface="Arial MT Md"/>
            </a:endParaRPr>
          </a:p>
        </p:txBody>
      </p:sp>
      <p:sp>
        <p:nvSpPr>
          <p:cNvPr id="12" name="object 5"/>
          <p:cNvSpPr/>
          <p:nvPr/>
        </p:nvSpPr>
        <p:spPr>
          <a:xfrm>
            <a:off x="535783" y="410766"/>
            <a:ext cx="11120437" cy="0"/>
          </a:xfrm>
          <a:custGeom>
            <a:avLst/>
            <a:gdLst/>
            <a:ahLst/>
            <a:cxnLst/>
            <a:rect l="l" t="t" r="r" b="b"/>
            <a:pathLst>
              <a:path w="11861800">
                <a:moveTo>
                  <a:pt x="0" y="0"/>
                </a:moveTo>
                <a:lnTo>
                  <a:pt x="11861800" y="0"/>
                </a:lnTo>
              </a:path>
            </a:pathLst>
          </a:custGeom>
          <a:ln w="25400">
            <a:solidFill>
              <a:schemeClr val="accent1"/>
            </a:solidFill>
          </a:ln>
        </p:spPr>
        <p:txBody>
          <a:bodyPr wrap="square" lIns="0" tIns="0" rIns="0" bIns="0" rtlCol="0"/>
          <a:lstStyle/>
          <a:p>
            <a:pPr defTabSz="640409"/>
            <a:endParaRPr>
              <a:solidFill>
                <a:srgbClr val="1F497D">
                  <a:lumMod val="60000"/>
                  <a:lumOff val="40000"/>
                </a:srgbClr>
              </a:solidFill>
              <a:ea typeface="+mn-ea"/>
              <a:cs typeface="+mn-cs"/>
            </a:endParaRPr>
          </a:p>
        </p:txBody>
      </p:sp>
      <p:sp>
        <p:nvSpPr>
          <p:cNvPr id="8" name="object 2">
            <a:extLst>
              <a:ext uri="{FF2B5EF4-FFF2-40B4-BE49-F238E27FC236}">
                <a16:creationId xmlns:a16="http://schemas.microsoft.com/office/drawing/2014/main" id="{873B275A-B125-4353-B1C9-C791E9501AF1}"/>
              </a:ext>
            </a:extLst>
          </p:cNvPr>
          <p:cNvSpPr txBox="1"/>
          <p:nvPr/>
        </p:nvSpPr>
        <p:spPr>
          <a:xfrm>
            <a:off x="535783" y="350072"/>
            <a:ext cx="11511600" cy="408639"/>
          </a:xfrm>
          <a:prstGeom prst="rect">
            <a:avLst/>
          </a:prstGeom>
        </p:spPr>
        <p:txBody>
          <a:bodyPr vert="horz" wrap="square" lIns="0" tIns="80138" rIns="0" bIns="0" rtlCol="0" anchor="t">
            <a:spAutoFit/>
          </a:bodyPr>
          <a:lstStyle/>
          <a:p>
            <a:pPr marL="8255" marR="3175" defTabSz="640859">
              <a:lnSpc>
                <a:spcPts val="2812"/>
              </a:lnSpc>
              <a:spcBef>
                <a:spcPts val="0"/>
              </a:spcBef>
            </a:pPr>
            <a:r>
              <a:rPr lang="en-GB" sz="2000" b="1" spc="-84">
                <a:solidFill>
                  <a:srgbClr val="0067B2"/>
                </a:solidFill>
                <a:latin typeface="Arial MT Md"/>
                <a:ea typeface="Geneva"/>
                <a:cs typeface="Avenir LT Std 65 Medium"/>
              </a:rPr>
              <a:t>Commercial Fleet – Transition to Electric Vehicles</a:t>
            </a:r>
          </a:p>
        </p:txBody>
      </p:sp>
      <p:pic>
        <p:nvPicPr>
          <p:cNvPr id="13" name="Picture 12">
            <a:extLst>
              <a:ext uri="{FF2B5EF4-FFF2-40B4-BE49-F238E27FC236}">
                <a16:creationId xmlns:a16="http://schemas.microsoft.com/office/drawing/2014/main" id="{0ADE6099-950A-4F85-B5A4-99C8842DA8C5}"/>
              </a:ext>
            </a:extLst>
          </p:cNvPr>
          <p:cNvPicPr>
            <a:picLocks noChangeAspect="1"/>
          </p:cNvPicPr>
          <p:nvPr/>
        </p:nvPicPr>
        <p:blipFill rotWithShape="1">
          <a:blip r:embed="rId4"/>
          <a:srcRect l="29474" t="57729" r="25921" b="17642"/>
          <a:stretch/>
        </p:blipFill>
        <p:spPr>
          <a:xfrm>
            <a:off x="426402" y="4719355"/>
            <a:ext cx="5694189" cy="1702983"/>
          </a:xfrm>
          <a:prstGeom prst="rect">
            <a:avLst/>
          </a:prstGeom>
        </p:spPr>
      </p:pic>
      <p:pic>
        <p:nvPicPr>
          <p:cNvPr id="9" name="Picture 1">
            <a:extLst>
              <a:ext uri="{FF2B5EF4-FFF2-40B4-BE49-F238E27FC236}">
                <a16:creationId xmlns:a16="http://schemas.microsoft.com/office/drawing/2014/main" id="{7797F97A-5CB4-4F57-8051-E532C341FAE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862216" y="943619"/>
            <a:ext cx="2794000" cy="174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 descr="C:\Users\PRINGLEL\AppData\Local\Microsoft\Windows\Temporary Internet Files\Content.Outlook\0FMXAV8G\IMG_9952.JPG">
            <a:extLst>
              <a:ext uri="{FF2B5EF4-FFF2-40B4-BE49-F238E27FC236}">
                <a16:creationId xmlns:a16="http://schemas.microsoft.com/office/drawing/2014/main" id="{26E87F35-6016-4995-BE66-FE54507E2AF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48906" t="59375" r="15411"/>
          <a:stretch/>
        </p:blipFill>
        <p:spPr bwMode="auto">
          <a:xfrm>
            <a:off x="9793705" y="4580378"/>
            <a:ext cx="1862511" cy="159033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
            <a:extLst>
              <a:ext uri="{FF2B5EF4-FFF2-40B4-BE49-F238E27FC236}">
                <a16:creationId xmlns:a16="http://schemas.microsoft.com/office/drawing/2014/main" id="{40238936-498D-47FC-9E3A-D642E21A6BF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844425" y="2850248"/>
            <a:ext cx="2811791" cy="1566576"/>
          </a:xfrm>
          <a:prstGeom prst="rect">
            <a:avLst/>
          </a:prstGeom>
          <a:noFill/>
          <a:ln w="12700">
            <a:noFill/>
            <a:miter lim="800000"/>
            <a:headEnd/>
            <a:tailEnd/>
          </a:ln>
          <a:extLst>
            <a:ext uri="{909E8E84-426E-40DD-AFC4-6F175D3DCCD1}">
              <a14:hiddenFill xmlns:a14="http://schemas.microsoft.com/office/drawing/2010/main">
                <a:solidFill>
                  <a:schemeClr val="accent1"/>
                </a:solidFill>
              </a14:hiddenFill>
            </a:ext>
          </a:extLst>
        </p:spPr>
      </p:pic>
      <p:sp>
        <p:nvSpPr>
          <p:cNvPr id="17" name="TextBox 16">
            <a:extLst>
              <a:ext uri="{FF2B5EF4-FFF2-40B4-BE49-F238E27FC236}">
                <a16:creationId xmlns:a16="http://schemas.microsoft.com/office/drawing/2014/main" id="{8D051BF3-8B48-426C-BAA8-C95BFD693124}"/>
              </a:ext>
            </a:extLst>
          </p:cNvPr>
          <p:cNvSpPr txBox="1"/>
          <p:nvPr/>
        </p:nvSpPr>
        <p:spPr>
          <a:xfrm>
            <a:off x="535784" y="1141088"/>
            <a:ext cx="7583624" cy="3035576"/>
          </a:xfrm>
          <a:prstGeom prst="rect">
            <a:avLst/>
          </a:prstGeom>
        </p:spPr>
        <p:txBody>
          <a:bodyPr vert="horz" wrap="square" lIns="0" tIns="80138" rIns="0" bIns="0" rtlCol="0" anchor="t">
            <a:spAutoFit/>
          </a:bodyPr>
          <a:lstStyle>
            <a:defPPr>
              <a:defRPr lang="en-US"/>
            </a:defPPr>
            <a:lvl1pPr marL="8890" marR="3175" defTabSz="640936">
              <a:lnSpc>
                <a:spcPts val="2812"/>
              </a:lnSpc>
              <a:spcBef>
                <a:spcPts val="633"/>
              </a:spcBef>
              <a:defRPr sz="2800" spc="-84">
                <a:solidFill>
                  <a:srgbClr val="0067B2"/>
                </a:solidFill>
                <a:latin typeface="Arial MT Md"/>
                <a:cs typeface="Avenir LT Std 65 Medium"/>
              </a:defRPr>
            </a:lvl1pPr>
          </a:lstStyle>
          <a:p>
            <a:pPr marL="8889">
              <a:lnSpc>
                <a:spcPct val="100000"/>
              </a:lnSpc>
              <a:spcBef>
                <a:spcPts val="0"/>
              </a:spcBef>
            </a:pPr>
            <a:r>
              <a:rPr lang="en-GB" sz="1600" b="1">
                <a:solidFill>
                  <a:srgbClr val="002060"/>
                </a:solidFill>
                <a:latin typeface="Arial"/>
                <a:ea typeface="Geneva"/>
                <a:cs typeface="Arial"/>
              </a:rPr>
              <a:t>EV Transition Project Team</a:t>
            </a:r>
          </a:p>
          <a:p>
            <a:pPr marL="294639" indent="-285750">
              <a:lnSpc>
                <a:spcPct val="100000"/>
              </a:lnSpc>
              <a:spcBef>
                <a:spcPts val="0"/>
              </a:spcBef>
              <a:buFont typeface="Arial" panose="020B0604020202020204" pitchFamily="34" charset="0"/>
              <a:buChar char="•"/>
            </a:pPr>
            <a:r>
              <a:rPr lang="en-GB" sz="1600">
                <a:solidFill>
                  <a:srgbClr val="002060"/>
                </a:solidFill>
                <a:latin typeface="Arial"/>
                <a:ea typeface="Geneva"/>
                <a:cs typeface="Arial"/>
              </a:rPr>
              <a:t>Engaging operational teams</a:t>
            </a:r>
          </a:p>
          <a:p>
            <a:pPr marL="294639" indent="-285750">
              <a:lnSpc>
                <a:spcPct val="100000"/>
              </a:lnSpc>
              <a:spcBef>
                <a:spcPts val="0"/>
              </a:spcBef>
              <a:buFont typeface="Arial" panose="020B0604020202020204" pitchFamily="34" charset="0"/>
              <a:buChar char="•"/>
            </a:pPr>
            <a:r>
              <a:rPr lang="en-GB" sz="1600">
                <a:solidFill>
                  <a:srgbClr val="002060"/>
                </a:solidFill>
                <a:latin typeface="Arial"/>
                <a:ea typeface="Geneva"/>
                <a:cs typeface="Arial"/>
              </a:rPr>
              <a:t>Installation of supporting infrastructure and mechanism for home charging</a:t>
            </a:r>
          </a:p>
          <a:p>
            <a:pPr marL="294639" indent="-285750">
              <a:lnSpc>
                <a:spcPct val="100000"/>
              </a:lnSpc>
              <a:spcBef>
                <a:spcPts val="0"/>
              </a:spcBef>
              <a:buFont typeface="Arial" panose="020B0604020202020204" pitchFamily="34" charset="0"/>
              <a:buChar char="•"/>
            </a:pPr>
            <a:r>
              <a:rPr lang="en-GB" sz="1600">
                <a:solidFill>
                  <a:srgbClr val="002060"/>
                </a:solidFill>
                <a:latin typeface="Arial"/>
                <a:ea typeface="Geneva"/>
                <a:cs typeface="Arial"/>
              </a:rPr>
              <a:t>Market scan and trials of emerging alternative fuel technology including hydrogen, biomethane and biodiesel</a:t>
            </a:r>
          </a:p>
          <a:p>
            <a:pPr marL="8889">
              <a:lnSpc>
                <a:spcPct val="100000"/>
              </a:lnSpc>
              <a:spcBef>
                <a:spcPts val="0"/>
              </a:spcBef>
            </a:pPr>
            <a:endParaRPr lang="en-GB" sz="1600">
              <a:solidFill>
                <a:srgbClr val="002060"/>
              </a:solidFill>
              <a:latin typeface="Arial"/>
              <a:ea typeface="Geneva"/>
              <a:cs typeface="Arial"/>
            </a:endParaRPr>
          </a:p>
          <a:p>
            <a:pPr marL="8889">
              <a:lnSpc>
                <a:spcPct val="100000"/>
              </a:lnSpc>
              <a:spcBef>
                <a:spcPts val="0"/>
              </a:spcBef>
            </a:pPr>
            <a:endParaRPr lang="en-GB" sz="1600">
              <a:solidFill>
                <a:srgbClr val="002060"/>
              </a:solidFill>
              <a:latin typeface="Arial"/>
              <a:ea typeface="Geneva"/>
              <a:cs typeface="Arial"/>
            </a:endParaRPr>
          </a:p>
          <a:p>
            <a:pPr marL="8889">
              <a:lnSpc>
                <a:spcPct val="100000"/>
              </a:lnSpc>
              <a:spcBef>
                <a:spcPts val="0"/>
              </a:spcBef>
            </a:pPr>
            <a:r>
              <a:rPr lang="en-GB" sz="1600" b="1">
                <a:solidFill>
                  <a:srgbClr val="002060"/>
                </a:solidFill>
                <a:latin typeface="Arial"/>
                <a:ea typeface="Geneva"/>
                <a:cs typeface="Arial"/>
              </a:rPr>
              <a:t>Transition Plan</a:t>
            </a:r>
          </a:p>
          <a:p>
            <a:pPr marL="294639" indent="-285750">
              <a:lnSpc>
                <a:spcPct val="100000"/>
              </a:lnSpc>
              <a:spcBef>
                <a:spcPts val="0"/>
              </a:spcBef>
              <a:buFont typeface="Arial" panose="020B0604020202020204" pitchFamily="34" charset="0"/>
              <a:buChar char="•"/>
            </a:pPr>
            <a:r>
              <a:rPr lang="en-GB" sz="1600">
                <a:solidFill>
                  <a:srgbClr val="002060"/>
                </a:solidFill>
                <a:latin typeface="Arial"/>
                <a:cs typeface="Arial"/>
              </a:rPr>
              <a:t>Trials so far include: Renault </a:t>
            </a:r>
            <a:r>
              <a:rPr lang="en-GB" sz="1600" err="1">
                <a:solidFill>
                  <a:srgbClr val="002060"/>
                </a:solidFill>
                <a:latin typeface="Arial"/>
                <a:cs typeface="Arial"/>
              </a:rPr>
              <a:t>Kangoo</a:t>
            </a:r>
            <a:r>
              <a:rPr lang="en-GB" sz="1600">
                <a:solidFill>
                  <a:srgbClr val="002060"/>
                </a:solidFill>
                <a:latin typeface="Arial"/>
                <a:cs typeface="Arial"/>
              </a:rPr>
              <a:t> vans, one with hydrogen fuel cell range extender,  electric mini excavator</a:t>
            </a:r>
          </a:p>
          <a:p>
            <a:pPr marL="294639" indent="-285750">
              <a:lnSpc>
                <a:spcPct val="100000"/>
              </a:lnSpc>
              <a:spcBef>
                <a:spcPts val="0"/>
              </a:spcBef>
              <a:buFont typeface="Arial" panose="020B0604020202020204" pitchFamily="34" charset="0"/>
              <a:buChar char="•"/>
            </a:pPr>
            <a:r>
              <a:rPr lang="en-GB" sz="1600">
                <a:solidFill>
                  <a:srgbClr val="002060"/>
                </a:solidFill>
                <a:latin typeface="Arial"/>
                <a:cs typeface="Arial"/>
              </a:rPr>
              <a:t>20 Nissan e-NV200</a:t>
            </a:r>
          </a:p>
          <a:p>
            <a:pPr marL="294639" indent="-285750">
              <a:lnSpc>
                <a:spcPct val="100000"/>
              </a:lnSpc>
              <a:spcBef>
                <a:spcPts val="0"/>
              </a:spcBef>
              <a:buFont typeface="Arial" panose="020B0604020202020204" pitchFamily="34" charset="0"/>
              <a:buChar char="•"/>
            </a:pPr>
            <a:r>
              <a:rPr lang="en-GB" sz="1600">
                <a:solidFill>
                  <a:srgbClr val="002060"/>
                </a:solidFill>
                <a:latin typeface="Arial"/>
                <a:cs typeface="Arial"/>
              </a:rPr>
              <a:t>We will replace up to 600 of our small and medium vans with EVs over the next 5 years</a:t>
            </a:r>
          </a:p>
        </p:txBody>
      </p:sp>
    </p:spTree>
    <p:custDataLst>
      <p:tags r:id="rId1"/>
    </p:custDataLst>
    <p:extLst>
      <p:ext uri="{BB962C8B-B14F-4D97-AF65-F5344CB8AC3E}">
        <p14:creationId xmlns:p14="http://schemas.microsoft.com/office/powerpoint/2010/main" val="2045558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68E8857-D81D-4503-AE20-473A535A8B9B}"/>
              </a:ext>
            </a:extLst>
          </p:cNvPr>
          <p:cNvPicPr>
            <a:picLocks noChangeAspect="1"/>
          </p:cNvPicPr>
          <p:nvPr/>
        </p:nvPicPr>
        <p:blipFill>
          <a:blip r:embed="rId2"/>
          <a:stretch>
            <a:fillRect/>
          </a:stretch>
        </p:blipFill>
        <p:spPr>
          <a:xfrm>
            <a:off x="-1" y="-2"/>
            <a:ext cx="12192001" cy="6858001"/>
          </a:xfrm>
          <a:prstGeom prst="rect">
            <a:avLst/>
          </a:prstGeom>
        </p:spPr>
      </p:pic>
    </p:spTree>
    <p:extLst>
      <p:ext uri="{BB962C8B-B14F-4D97-AF65-F5344CB8AC3E}">
        <p14:creationId xmlns:p14="http://schemas.microsoft.com/office/powerpoint/2010/main" val="709894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EEDF02-89C1-42C8-A795-B73481967364}"/>
              </a:ext>
            </a:extLst>
          </p:cNvPr>
          <p:cNvSpPr>
            <a:spLocks noGrp="1"/>
          </p:cNvSpPr>
          <p:nvPr>
            <p:ph type="title"/>
          </p:nvPr>
        </p:nvSpPr>
        <p:spPr/>
        <p:txBody>
          <a:bodyPr/>
          <a:lstStyle/>
          <a:p>
            <a:endParaRPr lang="en-GB"/>
          </a:p>
        </p:txBody>
      </p:sp>
      <p:pic>
        <p:nvPicPr>
          <p:cNvPr id="4" name="Picture 3">
            <a:extLst>
              <a:ext uri="{FF2B5EF4-FFF2-40B4-BE49-F238E27FC236}">
                <a16:creationId xmlns:a16="http://schemas.microsoft.com/office/drawing/2014/main" id="{344024A7-724D-440B-80B8-F1FD119DB241}"/>
              </a:ext>
            </a:extLst>
          </p:cNvPr>
          <p:cNvPicPr>
            <a:picLocks noChangeAspect="1"/>
          </p:cNvPicPr>
          <p:nvPr/>
        </p:nvPicPr>
        <p:blipFill>
          <a:blip r:embed="rId2"/>
          <a:stretch>
            <a:fillRect/>
          </a:stretch>
        </p:blipFill>
        <p:spPr>
          <a:xfrm>
            <a:off x="0" y="20801"/>
            <a:ext cx="12192000" cy="6816398"/>
          </a:xfrm>
          <a:prstGeom prst="rect">
            <a:avLst/>
          </a:prstGeom>
        </p:spPr>
      </p:pic>
    </p:spTree>
    <p:extLst>
      <p:ext uri="{BB962C8B-B14F-4D97-AF65-F5344CB8AC3E}">
        <p14:creationId xmlns:p14="http://schemas.microsoft.com/office/powerpoint/2010/main" val="3558148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83E8CE-9C53-414C-B149-05F25DB7399E}"/>
              </a:ext>
            </a:extLst>
          </p:cNvPr>
          <p:cNvSpPr>
            <a:spLocks noGrp="1"/>
          </p:cNvSpPr>
          <p:nvPr>
            <p:ph type="title"/>
          </p:nvPr>
        </p:nvSpPr>
        <p:spPr/>
        <p:txBody>
          <a:bodyPr/>
          <a:lstStyle/>
          <a:p>
            <a:endParaRPr lang="en-GB"/>
          </a:p>
        </p:txBody>
      </p:sp>
      <p:pic>
        <p:nvPicPr>
          <p:cNvPr id="4" name="Picture 3">
            <a:extLst>
              <a:ext uri="{FF2B5EF4-FFF2-40B4-BE49-F238E27FC236}">
                <a16:creationId xmlns:a16="http://schemas.microsoft.com/office/drawing/2014/main" id="{5770622E-1BB5-482A-BEE1-023D2F466D84}"/>
              </a:ext>
            </a:extLst>
          </p:cNvPr>
          <p:cNvPicPr>
            <a:picLocks noChangeAspect="1"/>
          </p:cNvPicPr>
          <p:nvPr/>
        </p:nvPicPr>
        <p:blipFill>
          <a:blip r:embed="rId2"/>
          <a:stretch>
            <a:fillRect/>
          </a:stretch>
        </p:blipFill>
        <p:spPr>
          <a:xfrm>
            <a:off x="0" y="22163"/>
            <a:ext cx="12192000" cy="6813673"/>
          </a:xfrm>
          <a:prstGeom prst="rect">
            <a:avLst/>
          </a:prstGeom>
        </p:spPr>
      </p:pic>
    </p:spTree>
    <p:extLst>
      <p:ext uri="{BB962C8B-B14F-4D97-AF65-F5344CB8AC3E}">
        <p14:creationId xmlns:p14="http://schemas.microsoft.com/office/powerpoint/2010/main" val="2073633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C9D4F-785B-4CDE-B81E-A683D8DBA59C}"/>
              </a:ext>
            </a:extLst>
          </p:cNvPr>
          <p:cNvSpPr>
            <a:spLocks noGrp="1"/>
          </p:cNvSpPr>
          <p:nvPr>
            <p:ph type="title"/>
          </p:nvPr>
        </p:nvSpPr>
        <p:spPr/>
        <p:txBody>
          <a:bodyPr/>
          <a:lstStyle/>
          <a:p>
            <a:endParaRPr lang="en-GB"/>
          </a:p>
        </p:txBody>
      </p:sp>
      <p:pic>
        <p:nvPicPr>
          <p:cNvPr id="4" name="Picture 3">
            <a:extLst>
              <a:ext uri="{FF2B5EF4-FFF2-40B4-BE49-F238E27FC236}">
                <a16:creationId xmlns:a16="http://schemas.microsoft.com/office/drawing/2014/main" id="{D658E471-8A9F-4AE6-AF92-16A7B003C41F}"/>
              </a:ext>
            </a:extLst>
          </p:cNvPr>
          <p:cNvPicPr>
            <a:picLocks noChangeAspect="1"/>
          </p:cNvPicPr>
          <p:nvPr/>
        </p:nvPicPr>
        <p:blipFill>
          <a:blip r:embed="rId2"/>
          <a:stretch>
            <a:fillRect/>
          </a:stretch>
        </p:blipFill>
        <p:spPr>
          <a:xfrm>
            <a:off x="0" y="24905"/>
            <a:ext cx="12192000" cy="6808189"/>
          </a:xfrm>
          <a:prstGeom prst="rect">
            <a:avLst/>
          </a:prstGeom>
        </p:spPr>
      </p:pic>
    </p:spTree>
    <p:extLst>
      <p:ext uri="{BB962C8B-B14F-4D97-AF65-F5344CB8AC3E}">
        <p14:creationId xmlns:p14="http://schemas.microsoft.com/office/powerpoint/2010/main" val="1988393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8A46E1-FDBB-44B0-A8CA-91D6257821F0}"/>
              </a:ext>
            </a:extLst>
          </p:cNvPr>
          <p:cNvSpPr>
            <a:spLocks noGrp="1"/>
          </p:cNvSpPr>
          <p:nvPr>
            <p:ph type="title"/>
          </p:nvPr>
        </p:nvSpPr>
        <p:spPr/>
        <p:txBody>
          <a:bodyPr/>
          <a:lstStyle/>
          <a:p>
            <a:endParaRPr lang="en-GB"/>
          </a:p>
        </p:txBody>
      </p:sp>
      <p:pic>
        <p:nvPicPr>
          <p:cNvPr id="4" name="Picture 3">
            <a:extLst>
              <a:ext uri="{FF2B5EF4-FFF2-40B4-BE49-F238E27FC236}">
                <a16:creationId xmlns:a16="http://schemas.microsoft.com/office/drawing/2014/main" id="{75860CD7-E708-4BA8-A7F0-DCEE7A84A7F2}"/>
              </a:ext>
            </a:extLst>
          </p:cNvPr>
          <p:cNvPicPr>
            <a:picLocks noChangeAspect="1"/>
          </p:cNvPicPr>
          <p:nvPr/>
        </p:nvPicPr>
        <p:blipFill>
          <a:blip r:embed="rId2"/>
          <a:stretch>
            <a:fillRect/>
          </a:stretch>
        </p:blipFill>
        <p:spPr>
          <a:xfrm>
            <a:off x="0" y="51833"/>
            <a:ext cx="12192000" cy="6754334"/>
          </a:xfrm>
          <a:prstGeom prst="rect">
            <a:avLst/>
          </a:prstGeom>
        </p:spPr>
      </p:pic>
    </p:spTree>
    <p:extLst>
      <p:ext uri="{BB962C8B-B14F-4D97-AF65-F5344CB8AC3E}">
        <p14:creationId xmlns:p14="http://schemas.microsoft.com/office/powerpoint/2010/main" val="1077541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F00480-6C09-47E0-9A97-1D398DFBDE61}"/>
              </a:ext>
            </a:extLst>
          </p:cNvPr>
          <p:cNvSpPr>
            <a:spLocks noGrp="1"/>
          </p:cNvSpPr>
          <p:nvPr>
            <p:ph type="title"/>
          </p:nvPr>
        </p:nvSpPr>
        <p:spPr>
          <a:xfrm>
            <a:off x="711047" y="765186"/>
            <a:ext cx="8676000" cy="369332"/>
          </a:xfrm>
        </p:spPr>
        <p:txBody>
          <a:bodyPr/>
          <a:lstStyle/>
          <a:p>
            <a:r>
              <a:rPr lang="en-GB"/>
              <a:t>Welcome </a:t>
            </a:r>
          </a:p>
        </p:txBody>
      </p:sp>
      <p:sp>
        <p:nvSpPr>
          <p:cNvPr id="4" name="Content Placeholder 2">
            <a:extLst>
              <a:ext uri="{FF2B5EF4-FFF2-40B4-BE49-F238E27FC236}">
                <a16:creationId xmlns:a16="http://schemas.microsoft.com/office/drawing/2014/main" id="{E4B8998B-CD6B-4FF8-985F-BD279DBDAC16}"/>
              </a:ext>
            </a:extLst>
          </p:cNvPr>
          <p:cNvSpPr txBox="1">
            <a:spLocks/>
          </p:cNvSpPr>
          <p:nvPr/>
        </p:nvSpPr>
        <p:spPr>
          <a:xfrm>
            <a:off x="838200" y="1835899"/>
            <a:ext cx="10515600" cy="4351338"/>
          </a:xfrm>
          <a:prstGeom prst="rect">
            <a:avLst/>
          </a:prstGeom>
        </p:spPr>
        <p:txBody>
          <a:bodyPr lIns="91440" tIns="45720" rIns="91440" bIns="45720" anchor="t">
            <a:normAutofit/>
          </a:bodyPr>
          <a:lstStyle>
            <a:lvl1pPr marL="0" indent="0" algn="l" defTabSz="914400" rtl="0" eaLnBrk="1" latinLnBrk="0" hangingPunct="1">
              <a:lnSpc>
                <a:spcPct val="100000"/>
              </a:lnSpc>
              <a:spcBef>
                <a:spcPts val="0"/>
              </a:spcBef>
              <a:buFont typeface="Arial" panose="020B0604020202020204" pitchFamily="34" charset="0"/>
              <a:buNone/>
              <a:defRPr sz="2400" kern="1200">
                <a:solidFill>
                  <a:schemeClr val="tx1"/>
                </a:solidFill>
                <a:latin typeface="+mn-lt"/>
                <a:ea typeface="+mn-ea"/>
                <a:cs typeface="+mn-cs"/>
              </a:defRPr>
            </a:lvl1pPr>
            <a:lvl2pPr marL="216000" indent="-216000" algn="l" defTabSz="914400" rtl="0" eaLnBrk="1" latinLnBrk="0" hangingPunct="1">
              <a:lnSpc>
                <a:spcPct val="100000"/>
              </a:lnSpc>
              <a:spcBef>
                <a:spcPts val="0"/>
              </a:spcBef>
              <a:buFont typeface="Arial" panose="020B0604020202020204" pitchFamily="34" charset="0"/>
              <a:buChar char="•"/>
              <a:defRPr sz="2400" kern="1200">
                <a:solidFill>
                  <a:schemeClr val="tx1"/>
                </a:solidFill>
                <a:latin typeface="+mn-lt"/>
                <a:ea typeface="+mn-ea"/>
                <a:cs typeface="+mn-cs"/>
              </a:defRPr>
            </a:lvl2pPr>
            <a:lvl3pPr marL="432000" indent="-216000" algn="l" defTabSz="914400" rtl="0" eaLnBrk="1" latinLnBrk="0" hangingPunct="1">
              <a:lnSpc>
                <a:spcPct val="100000"/>
              </a:lnSpc>
              <a:spcBef>
                <a:spcPts val="0"/>
              </a:spcBef>
              <a:buFont typeface="Overpass Light" panose="00000400000000000000" pitchFamily="2" charset="0"/>
              <a:buChar char="–"/>
              <a:defRPr sz="2400" kern="1200">
                <a:solidFill>
                  <a:schemeClr val="tx1"/>
                </a:solidFill>
                <a:latin typeface="+mn-lt"/>
                <a:ea typeface="+mn-ea"/>
                <a:cs typeface="+mn-cs"/>
              </a:defRPr>
            </a:lvl3pPr>
            <a:lvl4pPr marL="360000" indent="-360000" algn="l" defTabSz="914400" rtl="0" eaLnBrk="1" latinLnBrk="0" hangingPunct="1">
              <a:lnSpc>
                <a:spcPct val="100000"/>
              </a:lnSpc>
              <a:spcBef>
                <a:spcPts val="0"/>
              </a:spcBef>
              <a:buFont typeface="+mj-lt"/>
              <a:buAutoNum type="arabicPeriod"/>
              <a:defRPr sz="2400" kern="1200">
                <a:solidFill>
                  <a:schemeClr val="tx1"/>
                </a:solidFill>
                <a:latin typeface="+mn-lt"/>
                <a:ea typeface="+mn-ea"/>
                <a:cs typeface="+mn-cs"/>
              </a:defRPr>
            </a:lvl4pPr>
            <a:lvl5pPr marL="720000" indent="-360000" algn="l" defTabSz="914400" rtl="0" eaLnBrk="1" latinLnBrk="0" hangingPunct="1">
              <a:lnSpc>
                <a:spcPct val="100000"/>
              </a:lnSpc>
              <a:spcBef>
                <a:spcPts val="0"/>
              </a:spcBef>
              <a:buFont typeface="+mj-lt"/>
              <a:buAutoNum type="alphaLcPeriod"/>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a:p>
        </p:txBody>
      </p:sp>
      <p:sp>
        <p:nvSpPr>
          <p:cNvPr id="6" name="TextBox 5">
            <a:extLst>
              <a:ext uri="{FF2B5EF4-FFF2-40B4-BE49-F238E27FC236}">
                <a16:creationId xmlns:a16="http://schemas.microsoft.com/office/drawing/2014/main" id="{AD43E0C9-F0E4-4B79-ACA5-EFCA9FD96824}"/>
              </a:ext>
            </a:extLst>
          </p:cNvPr>
          <p:cNvSpPr txBox="1"/>
          <p:nvPr/>
        </p:nvSpPr>
        <p:spPr>
          <a:xfrm>
            <a:off x="239928" y="4775299"/>
            <a:ext cx="2764316" cy="646331"/>
          </a:xfrm>
          <a:prstGeom prst="rect">
            <a:avLst/>
          </a:prstGeom>
          <a:noFill/>
        </p:spPr>
        <p:txBody>
          <a:bodyPr wrap="square" rtlCol="0">
            <a:spAutoFit/>
          </a:bodyPr>
          <a:lstStyle/>
          <a:p>
            <a:r>
              <a:rPr lang="en-GB"/>
              <a:t>David Wells, Chief Executive, Logistics UK </a:t>
            </a:r>
          </a:p>
        </p:txBody>
      </p:sp>
      <p:sp>
        <p:nvSpPr>
          <p:cNvPr id="10" name="TextBox 9">
            <a:extLst>
              <a:ext uri="{FF2B5EF4-FFF2-40B4-BE49-F238E27FC236}">
                <a16:creationId xmlns:a16="http://schemas.microsoft.com/office/drawing/2014/main" id="{49756AC5-BD04-48CD-A1E7-06CAA0CC2463}"/>
              </a:ext>
            </a:extLst>
          </p:cNvPr>
          <p:cNvSpPr txBox="1"/>
          <p:nvPr/>
        </p:nvSpPr>
        <p:spPr>
          <a:xfrm>
            <a:off x="3041214" y="4750353"/>
            <a:ext cx="2535230" cy="646331"/>
          </a:xfrm>
          <a:prstGeom prst="rect">
            <a:avLst/>
          </a:prstGeom>
          <a:noFill/>
        </p:spPr>
        <p:txBody>
          <a:bodyPr wrap="square">
            <a:spAutoFit/>
          </a:bodyPr>
          <a:lstStyle/>
          <a:p>
            <a:pPr algn="just" rtl="0" fontAlgn="base"/>
            <a:r>
              <a:rPr lang="en-GB" sz="1800" b="0" i="0">
                <a:solidFill>
                  <a:srgbClr val="000000"/>
                </a:solidFill>
                <a:effectLst/>
                <a:latin typeface="Arial" panose="020B0604020202020204" pitchFamily="34" charset="0"/>
              </a:rPr>
              <a:t>Andy Eastlake, CEO, </a:t>
            </a:r>
            <a:r>
              <a:rPr lang="en-GB" sz="1800" b="0" i="0" err="1">
                <a:solidFill>
                  <a:srgbClr val="000000"/>
                </a:solidFill>
                <a:effectLst/>
                <a:latin typeface="Arial" panose="020B0604020202020204" pitchFamily="34" charset="0"/>
              </a:rPr>
              <a:t>Zemo</a:t>
            </a:r>
            <a:r>
              <a:rPr lang="en-GB" sz="1800" b="0" i="0">
                <a:solidFill>
                  <a:srgbClr val="000000"/>
                </a:solidFill>
                <a:effectLst/>
                <a:latin typeface="Arial" panose="020B0604020202020204" pitchFamily="34" charset="0"/>
              </a:rPr>
              <a:t> Partnership </a:t>
            </a:r>
          </a:p>
        </p:txBody>
      </p:sp>
      <p:pic>
        <p:nvPicPr>
          <p:cNvPr id="11" name="Picture 10">
            <a:extLst>
              <a:ext uri="{FF2B5EF4-FFF2-40B4-BE49-F238E27FC236}">
                <a16:creationId xmlns:a16="http://schemas.microsoft.com/office/drawing/2014/main" id="{C4F8E7C8-20E6-416C-AD0D-3C25DAE496BD}"/>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63055" y="1705768"/>
            <a:ext cx="1984413" cy="2949496"/>
          </a:xfrm>
          <a:prstGeom prst="rect">
            <a:avLst/>
          </a:prstGeom>
          <a:noFill/>
          <a:ln>
            <a:noFill/>
          </a:ln>
        </p:spPr>
      </p:pic>
      <p:sp>
        <p:nvSpPr>
          <p:cNvPr id="13" name="TextBox 12">
            <a:extLst>
              <a:ext uri="{FF2B5EF4-FFF2-40B4-BE49-F238E27FC236}">
                <a16:creationId xmlns:a16="http://schemas.microsoft.com/office/drawing/2014/main" id="{1A63C305-9442-4369-BA21-2122FBAFACDB}"/>
              </a:ext>
            </a:extLst>
          </p:cNvPr>
          <p:cNvSpPr txBox="1"/>
          <p:nvPr/>
        </p:nvSpPr>
        <p:spPr>
          <a:xfrm>
            <a:off x="5609320" y="4806006"/>
            <a:ext cx="1982509" cy="923330"/>
          </a:xfrm>
          <a:prstGeom prst="rect">
            <a:avLst/>
          </a:prstGeom>
          <a:noFill/>
        </p:spPr>
        <p:txBody>
          <a:bodyPr wrap="square">
            <a:spAutoFit/>
          </a:bodyPr>
          <a:lstStyle/>
          <a:p>
            <a:pPr rtl="0" fontAlgn="base"/>
            <a:r>
              <a:rPr lang="en-GB" sz="1800" b="0" i="0">
                <a:solidFill>
                  <a:srgbClr val="000000"/>
                </a:solidFill>
                <a:effectLst/>
                <a:latin typeface="Arial" panose="020B0604020202020204" pitchFamily="34" charset="0"/>
              </a:rPr>
              <a:t>Elaine Pringle, Fleet Manager, Scottish Water </a:t>
            </a:r>
          </a:p>
        </p:txBody>
      </p:sp>
      <p:pic>
        <p:nvPicPr>
          <p:cNvPr id="15" name="Picture 14" descr="A person smiling for the camera&#10;&#10;Description automatically generated with low confidence">
            <a:extLst>
              <a:ext uri="{FF2B5EF4-FFF2-40B4-BE49-F238E27FC236}">
                <a16:creationId xmlns:a16="http://schemas.microsoft.com/office/drawing/2014/main" id="{79A11E70-8FAD-4FEC-BB23-E923899A68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2113" y="1723289"/>
            <a:ext cx="1982508" cy="2914454"/>
          </a:xfrm>
          <a:prstGeom prst="rect">
            <a:avLst/>
          </a:prstGeom>
        </p:spPr>
      </p:pic>
      <p:sp>
        <p:nvSpPr>
          <p:cNvPr id="17" name="TextBox 16">
            <a:extLst>
              <a:ext uri="{FF2B5EF4-FFF2-40B4-BE49-F238E27FC236}">
                <a16:creationId xmlns:a16="http://schemas.microsoft.com/office/drawing/2014/main" id="{B39501EB-EDAD-4811-8EBA-A77528DDDC24}"/>
              </a:ext>
            </a:extLst>
          </p:cNvPr>
          <p:cNvSpPr txBox="1"/>
          <p:nvPr/>
        </p:nvSpPr>
        <p:spPr>
          <a:xfrm>
            <a:off x="7514621" y="4793489"/>
            <a:ext cx="2108267" cy="1754326"/>
          </a:xfrm>
          <a:prstGeom prst="rect">
            <a:avLst/>
          </a:prstGeom>
          <a:noFill/>
        </p:spPr>
        <p:txBody>
          <a:bodyPr wrap="square">
            <a:spAutoFit/>
          </a:bodyPr>
          <a:lstStyle/>
          <a:p>
            <a:pPr rtl="0" fontAlgn="base"/>
            <a:r>
              <a:rPr lang="en-GB" sz="1800" b="0" i="0">
                <a:solidFill>
                  <a:srgbClr val="000000"/>
                </a:solidFill>
                <a:effectLst/>
                <a:latin typeface="Arial" panose="020B0604020202020204" pitchFamily="34" charset="0"/>
              </a:rPr>
              <a:t>Jackie Hewson, Alternative Fuels Implementation Manager – Transport, John Lewis Partnership </a:t>
            </a:r>
          </a:p>
        </p:txBody>
      </p:sp>
      <p:pic>
        <p:nvPicPr>
          <p:cNvPr id="9" name="Picture 8" descr="A person smiling for the camera&#10;&#10;Description automatically generated with medium confidence">
            <a:extLst>
              <a:ext uri="{FF2B5EF4-FFF2-40B4-BE49-F238E27FC236}">
                <a16:creationId xmlns:a16="http://schemas.microsoft.com/office/drawing/2014/main" id="{23C318CF-6BFA-4464-9785-6C74ACA837FB}"/>
              </a:ext>
            </a:extLst>
          </p:cNvPr>
          <p:cNvPicPr>
            <a:picLocks noChangeAspect="1"/>
          </p:cNvPicPr>
          <p:nvPr/>
        </p:nvPicPr>
        <p:blipFill rotWithShape="1">
          <a:blip r:embed="rId4">
            <a:extLst>
              <a:ext uri="{28A0092B-C50C-407E-A947-70E740481C1C}">
                <a14:useLocalDpi xmlns:a14="http://schemas.microsoft.com/office/drawing/2010/main" val="0"/>
              </a:ext>
            </a:extLst>
          </a:blip>
          <a:srcRect l="12733" r="19717"/>
          <a:stretch/>
        </p:blipFill>
        <p:spPr>
          <a:xfrm>
            <a:off x="7714449" y="1704453"/>
            <a:ext cx="1908439" cy="2914454"/>
          </a:xfrm>
          <a:prstGeom prst="rect">
            <a:avLst/>
          </a:prstGeom>
        </p:spPr>
      </p:pic>
      <p:pic>
        <p:nvPicPr>
          <p:cNvPr id="14" name="Picture 13" descr="A person standing at a podium&#10;&#10;Description automatically generated with medium confidence">
            <a:extLst>
              <a:ext uri="{FF2B5EF4-FFF2-40B4-BE49-F238E27FC236}">
                <a16:creationId xmlns:a16="http://schemas.microsoft.com/office/drawing/2014/main" id="{8C7C72E9-0E44-47E8-8B21-E37AC2CF6D25}"/>
              </a:ext>
            </a:extLst>
          </p:cNvPr>
          <p:cNvPicPr>
            <a:picLocks noChangeAspect="1"/>
          </p:cNvPicPr>
          <p:nvPr/>
        </p:nvPicPr>
        <p:blipFill rotWithShape="1">
          <a:blip r:embed="rId5">
            <a:extLst>
              <a:ext uri="{28A0092B-C50C-407E-A947-70E740481C1C}">
                <a14:useLocalDpi xmlns:a14="http://schemas.microsoft.com/office/drawing/2010/main" val="0"/>
              </a:ext>
            </a:extLst>
          </a:blip>
          <a:srcRect l="18981" r="20614"/>
          <a:stretch/>
        </p:blipFill>
        <p:spPr>
          <a:xfrm>
            <a:off x="304800" y="1695702"/>
            <a:ext cx="2634573" cy="2911334"/>
          </a:xfrm>
          <a:prstGeom prst="rect">
            <a:avLst/>
          </a:prstGeom>
        </p:spPr>
      </p:pic>
      <p:pic>
        <p:nvPicPr>
          <p:cNvPr id="18" name="Picture 17" descr="A person wearing glasses&#10;&#10;Description automatically generated with medium confidence">
            <a:extLst>
              <a:ext uri="{FF2B5EF4-FFF2-40B4-BE49-F238E27FC236}">
                <a16:creationId xmlns:a16="http://schemas.microsoft.com/office/drawing/2014/main" id="{236D050C-B8AF-43AA-BEE3-D1154C568DD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822716" y="1667636"/>
            <a:ext cx="2212099" cy="2949466"/>
          </a:xfrm>
          <a:prstGeom prst="rect">
            <a:avLst/>
          </a:prstGeom>
        </p:spPr>
      </p:pic>
      <p:sp>
        <p:nvSpPr>
          <p:cNvPr id="19" name="TextBox 18">
            <a:extLst>
              <a:ext uri="{FF2B5EF4-FFF2-40B4-BE49-F238E27FC236}">
                <a16:creationId xmlns:a16="http://schemas.microsoft.com/office/drawing/2014/main" id="{8C6285A8-D486-441B-B60A-035BC274A389}"/>
              </a:ext>
            </a:extLst>
          </p:cNvPr>
          <p:cNvSpPr txBox="1"/>
          <p:nvPr/>
        </p:nvSpPr>
        <p:spPr>
          <a:xfrm>
            <a:off x="9820616" y="4856818"/>
            <a:ext cx="1982509" cy="1200329"/>
          </a:xfrm>
          <a:prstGeom prst="rect">
            <a:avLst/>
          </a:prstGeom>
          <a:noFill/>
        </p:spPr>
        <p:txBody>
          <a:bodyPr wrap="square">
            <a:spAutoFit/>
          </a:bodyPr>
          <a:lstStyle/>
          <a:p>
            <a:pPr rtl="0" fontAlgn="base"/>
            <a:r>
              <a:rPr lang="en-GB" sz="1800" b="0" i="0">
                <a:solidFill>
                  <a:srgbClr val="000000"/>
                </a:solidFill>
                <a:effectLst/>
                <a:latin typeface="Arial" panose="020B0604020202020204" pitchFamily="34" charset="0"/>
              </a:rPr>
              <a:t>Michelle Gardner, Head of Public Policy, Logistics UK</a:t>
            </a:r>
          </a:p>
        </p:txBody>
      </p:sp>
    </p:spTree>
    <p:extLst>
      <p:ext uri="{BB962C8B-B14F-4D97-AF65-F5344CB8AC3E}">
        <p14:creationId xmlns:p14="http://schemas.microsoft.com/office/powerpoint/2010/main" val="334859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4F5566E-C826-46B4-B4F0-F32B51F31B2D}"/>
              </a:ext>
            </a:extLst>
          </p:cNvPr>
          <p:cNvPicPr>
            <a:picLocks noChangeAspect="1"/>
          </p:cNvPicPr>
          <p:nvPr/>
        </p:nvPicPr>
        <p:blipFill>
          <a:blip r:embed="rId2"/>
          <a:stretch>
            <a:fillRect/>
          </a:stretch>
        </p:blipFill>
        <p:spPr>
          <a:xfrm>
            <a:off x="0" y="7429"/>
            <a:ext cx="12192000" cy="6843142"/>
          </a:xfrm>
          <a:prstGeom prst="rect">
            <a:avLst/>
          </a:prstGeom>
        </p:spPr>
      </p:pic>
    </p:spTree>
    <p:extLst>
      <p:ext uri="{BB962C8B-B14F-4D97-AF65-F5344CB8AC3E}">
        <p14:creationId xmlns:p14="http://schemas.microsoft.com/office/powerpoint/2010/main" val="628452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2BF4C27-811B-4D7E-B03D-353BCCD96009}"/>
              </a:ext>
            </a:extLst>
          </p:cNvPr>
          <p:cNvPicPr>
            <a:picLocks noChangeAspect="1"/>
          </p:cNvPicPr>
          <p:nvPr/>
        </p:nvPicPr>
        <p:blipFill>
          <a:blip r:embed="rId2"/>
          <a:stretch>
            <a:fillRect/>
          </a:stretch>
        </p:blipFill>
        <p:spPr>
          <a:xfrm>
            <a:off x="0" y="19802"/>
            <a:ext cx="12192000" cy="6818395"/>
          </a:xfrm>
          <a:prstGeom prst="rect">
            <a:avLst/>
          </a:prstGeom>
        </p:spPr>
      </p:pic>
    </p:spTree>
    <p:extLst>
      <p:ext uri="{BB962C8B-B14F-4D97-AF65-F5344CB8AC3E}">
        <p14:creationId xmlns:p14="http://schemas.microsoft.com/office/powerpoint/2010/main" val="1721738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87FDD11-31ED-458B-9D8F-A600CC53E39A}"/>
              </a:ext>
            </a:extLst>
          </p:cNvPr>
          <p:cNvPicPr>
            <a:picLocks noChangeAspect="1"/>
          </p:cNvPicPr>
          <p:nvPr/>
        </p:nvPicPr>
        <p:blipFill>
          <a:blip r:embed="rId2"/>
          <a:stretch>
            <a:fillRect/>
          </a:stretch>
        </p:blipFill>
        <p:spPr>
          <a:xfrm>
            <a:off x="0" y="42333"/>
            <a:ext cx="12192000" cy="6773333"/>
          </a:xfrm>
          <a:prstGeom prst="rect">
            <a:avLst/>
          </a:prstGeom>
        </p:spPr>
      </p:pic>
    </p:spTree>
    <p:extLst>
      <p:ext uri="{BB962C8B-B14F-4D97-AF65-F5344CB8AC3E}">
        <p14:creationId xmlns:p14="http://schemas.microsoft.com/office/powerpoint/2010/main" val="808020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A45A2D-221C-468F-81D2-D97AF3A85B24}"/>
              </a:ext>
            </a:extLst>
          </p:cNvPr>
          <p:cNvPicPr>
            <a:picLocks noChangeAspect="1"/>
          </p:cNvPicPr>
          <p:nvPr/>
        </p:nvPicPr>
        <p:blipFill>
          <a:blip r:embed="rId2"/>
          <a:stretch>
            <a:fillRect/>
          </a:stretch>
        </p:blipFill>
        <p:spPr>
          <a:xfrm>
            <a:off x="0" y="36665"/>
            <a:ext cx="12192000" cy="6784669"/>
          </a:xfrm>
          <a:prstGeom prst="rect">
            <a:avLst/>
          </a:prstGeom>
        </p:spPr>
      </p:pic>
    </p:spTree>
    <p:extLst>
      <p:ext uri="{BB962C8B-B14F-4D97-AF65-F5344CB8AC3E}">
        <p14:creationId xmlns:p14="http://schemas.microsoft.com/office/powerpoint/2010/main" val="3064004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4E408A3-02CA-4064-B1E6-C4D038C71769}"/>
              </a:ext>
            </a:extLst>
          </p:cNvPr>
          <p:cNvPicPr>
            <a:picLocks noChangeAspect="1"/>
          </p:cNvPicPr>
          <p:nvPr/>
        </p:nvPicPr>
        <p:blipFill>
          <a:blip r:embed="rId2"/>
          <a:stretch>
            <a:fillRect/>
          </a:stretch>
        </p:blipFill>
        <p:spPr>
          <a:xfrm>
            <a:off x="0" y="14562"/>
            <a:ext cx="12192000" cy="6828876"/>
          </a:xfrm>
          <a:prstGeom prst="rect">
            <a:avLst/>
          </a:prstGeom>
        </p:spPr>
      </p:pic>
    </p:spTree>
    <p:extLst>
      <p:ext uri="{BB962C8B-B14F-4D97-AF65-F5344CB8AC3E}">
        <p14:creationId xmlns:p14="http://schemas.microsoft.com/office/powerpoint/2010/main" val="1193676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3560C4C-E3FD-4D27-851F-3D7320D6CD9E}"/>
              </a:ext>
            </a:extLst>
          </p:cNvPr>
          <p:cNvPicPr>
            <a:picLocks noChangeAspect="1"/>
          </p:cNvPicPr>
          <p:nvPr/>
        </p:nvPicPr>
        <p:blipFill>
          <a:blip r:embed="rId2"/>
          <a:stretch>
            <a:fillRect/>
          </a:stretch>
        </p:blipFill>
        <p:spPr>
          <a:xfrm>
            <a:off x="0" y="22037"/>
            <a:ext cx="12192000" cy="6813926"/>
          </a:xfrm>
          <a:prstGeom prst="rect">
            <a:avLst/>
          </a:prstGeom>
        </p:spPr>
      </p:pic>
    </p:spTree>
    <p:extLst>
      <p:ext uri="{BB962C8B-B14F-4D97-AF65-F5344CB8AC3E}">
        <p14:creationId xmlns:p14="http://schemas.microsoft.com/office/powerpoint/2010/main" val="329760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6">
            <a:extLst>
              <a:ext uri="{FF2B5EF4-FFF2-40B4-BE49-F238E27FC236}">
                <a16:creationId xmlns:a16="http://schemas.microsoft.com/office/drawing/2014/main" id="{FC505F09-2AC9-4122-97C9-32FE9B2296F2}"/>
              </a:ext>
            </a:extLst>
          </p:cNvPr>
          <p:cNvSpPr txBox="1">
            <a:spLocks/>
          </p:cNvSpPr>
          <p:nvPr/>
        </p:nvSpPr>
        <p:spPr>
          <a:xfrm>
            <a:off x="934834" y="2918942"/>
            <a:ext cx="5428583" cy="690026"/>
          </a:xfrm>
          <a:prstGeom prst="rect">
            <a:avLst/>
          </a:prstGeom>
          <a:noFill/>
        </p:spPr>
        <p:txBody>
          <a:bodyPr vert="horz" lIns="0" tIns="0" rIns="0" bIns="0" rtlCol="0" anchor="t" anchorCtr="0">
            <a:noAutofit/>
          </a:bodyPr>
          <a:lstStyle>
            <a:lvl1pPr algn="l" defTabSz="914400" rtl="0" eaLnBrk="1" latinLnBrk="0" hangingPunct="1">
              <a:lnSpc>
                <a:spcPct val="100000"/>
              </a:lnSpc>
              <a:spcBef>
                <a:spcPct val="0"/>
              </a:spcBef>
              <a:buNone/>
              <a:defRPr sz="4200" kern="1200">
                <a:solidFill>
                  <a:schemeClr val="accent1"/>
                </a:solidFill>
                <a:latin typeface="+mj-lt"/>
                <a:ea typeface="+mj-ea"/>
                <a:cs typeface="+mj-cs"/>
              </a:defRPr>
            </a:lvl1pPr>
          </a:lstStyle>
          <a:p>
            <a:r>
              <a:rPr lang="en-GB" sz="4000">
                <a:solidFill>
                  <a:schemeClr val="tx1"/>
                </a:solidFill>
              </a:rPr>
              <a:t>ANY QUESTIONS?</a:t>
            </a:r>
          </a:p>
        </p:txBody>
      </p:sp>
    </p:spTree>
    <p:extLst>
      <p:ext uri="{BB962C8B-B14F-4D97-AF65-F5344CB8AC3E}">
        <p14:creationId xmlns:p14="http://schemas.microsoft.com/office/powerpoint/2010/main" val="765769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5AEBF9E-93E3-42ED-9C4C-8319E5CEFF15}"/>
              </a:ext>
            </a:extLst>
          </p:cNvPr>
          <p:cNvSpPr>
            <a:spLocks noGrp="1"/>
          </p:cNvSpPr>
          <p:nvPr>
            <p:ph type="title"/>
          </p:nvPr>
        </p:nvSpPr>
        <p:spPr/>
        <p:txBody>
          <a:bodyPr/>
          <a:lstStyle/>
          <a:p>
            <a:r>
              <a:rPr lang="en-GB"/>
              <a:t>Thank you </a:t>
            </a:r>
          </a:p>
        </p:txBody>
      </p:sp>
      <p:sp>
        <p:nvSpPr>
          <p:cNvPr id="6" name="TextBox 5">
            <a:extLst>
              <a:ext uri="{FF2B5EF4-FFF2-40B4-BE49-F238E27FC236}">
                <a16:creationId xmlns:a16="http://schemas.microsoft.com/office/drawing/2014/main" id="{02A73703-CC8D-4748-92EC-73634BFB982E}"/>
              </a:ext>
            </a:extLst>
          </p:cNvPr>
          <p:cNvSpPr txBox="1"/>
          <p:nvPr/>
        </p:nvSpPr>
        <p:spPr>
          <a:xfrm>
            <a:off x="572629" y="1761736"/>
            <a:ext cx="5523372" cy="2585323"/>
          </a:xfrm>
          <a:prstGeom prst="rect">
            <a:avLst/>
          </a:prstGeom>
          <a:noFill/>
        </p:spPr>
        <p:txBody>
          <a:bodyPr wrap="square" lIns="91440" tIns="45720" rIns="91440" bIns="45720" anchor="t">
            <a:spAutoFit/>
          </a:bodyPr>
          <a:lstStyle/>
          <a:p>
            <a:r>
              <a:rPr lang="en-GB" sz="2700"/>
              <a:t>Please visit </a:t>
            </a:r>
            <a:r>
              <a:rPr lang="en-GB" sz="2700">
                <a:hlinkClick r:id="rId3"/>
              </a:rPr>
              <a:t>www.logistics.org.uk/environment</a:t>
            </a:r>
            <a:endParaRPr lang="en-US"/>
          </a:p>
          <a:p>
            <a:r>
              <a:rPr lang="en-GB" sz="2700"/>
              <a:t>for more information on Logistics UK’s decarbonisation work, including details on how to join the Route to Net Zero commitment</a:t>
            </a:r>
            <a:endParaRPr lang="en-GB"/>
          </a:p>
        </p:txBody>
      </p:sp>
      <p:pic>
        <p:nvPicPr>
          <p:cNvPr id="11" name="Picture 10" descr="A picture containing plant&#10;&#10;Description automatically generated">
            <a:extLst>
              <a:ext uri="{FF2B5EF4-FFF2-40B4-BE49-F238E27FC236}">
                <a16:creationId xmlns:a16="http://schemas.microsoft.com/office/drawing/2014/main" id="{CB1714BA-2482-474A-825D-383820438F4F}"/>
              </a:ext>
            </a:extLst>
          </p:cNvPr>
          <p:cNvPicPr>
            <a:picLocks noChangeAspect="1"/>
          </p:cNvPicPr>
          <p:nvPr/>
        </p:nvPicPr>
        <p:blipFill rotWithShape="1">
          <a:blip r:embed="rId4">
            <a:extLst>
              <a:ext uri="{28A0092B-C50C-407E-A947-70E740481C1C}">
                <a14:useLocalDpi xmlns:a14="http://schemas.microsoft.com/office/drawing/2010/main" val="0"/>
              </a:ext>
            </a:extLst>
          </a:blip>
          <a:srcRect l="43084"/>
          <a:stretch/>
        </p:blipFill>
        <p:spPr>
          <a:xfrm>
            <a:off x="6676222" y="1387624"/>
            <a:ext cx="5515778" cy="5470375"/>
          </a:xfrm>
          <a:prstGeom prst="rect">
            <a:avLst/>
          </a:prstGeom>
        </p:spPr>
      </p:pic>
    </p:spTree>
    <p:extLst>
      <p:ext uri="{BB962C8B-B14F-4D97-AF65-F5344CB8AC3E}">
        <p14:creationId xmlns:p14="http://schemas.microsoft.com/office/powerpoint/2010/main" val="590212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19AD36-10AE-469B-93CA-0EF3FF0CF0D8}"/>
              </a:ext>
            </a:extLst>
          </p:cNvPr>
          <p:cNvSpPr>
            <a:spLocks noGrp="1"/>
          </p:cNvSpPr>
          <p:nvPr>
            <p:ph type="title"/>
          </p:nvPr>
        </p:nvSpPr>
        <p:spPr/>
        <p:txBody>
          <a:bodyPr/>
          <a:lstStyle/>
          <a:p>
            <a:r>
              <a:rPr lang="en-GB"/>
              <a:t>Route to Net Zero manifesto</a:t>
            </a:r>
          </a:p>
        </p:txBody>
      </p:sp>
      <p:pic>
        <p:nvPicPr>
          <p:cNvPr id="5" name="Picture 4">
            <a:extLst>
              <a:ext uri="{FF2B5EF4-FFF2-40B4-BE49-F238E27FC236}">
                <a16:creationId xmlns:a16="http://schemas.microsoft.com/office/drawing/2014/main" id="{67661031-57D8-4BDB-A27E-422DB76DAE05}"/>
              </a:ext>
            </a:extLst>
          </p:cNvPr>
          <p:cNvPicPr>
            <a:picLocks noChangeAspect="1"/>
          </p:cNvPicPr>
          <p:nvPr/>
        </p:nvPicPr>
        <p:blipFill rotWithShape="1">
          <a:blip r:embed="rId2"/>
          <a:srcRect t="9034"/>
          <a:stretch/>
        </p:blipFill>
        <p:spPr>
          <a:xfrm>
            <a:off x="719400" y="1538937"/>
            <a:ext cx="3984309" cy="5036524"/>
          </a:xfrm>
          <a:prstGeom prst="rect">
            <a:avLst/>
          </a:prstGeom>
        </p:spPr>
      </p:pic>
      <p:sp>
        <p:nvSpPr>
          <p:cNvPr id="7" name="TextBox 6">
            <a:extLst>
              <a:ext uri="{FF2B5EF4-FFF2-40B4-BE49-F238E27FC236}">
                <a16:creationId xmlns:a16="http://schemas.microsoft.com/office/drawing/2014/main" id="{F98ABB0C-BB89-4569-AC30-A5FED86C7CBA}"/>
              </a:ext>
            </a:extLst>
          </p:cNvPr>
          <p:cNvSpPr txBox="1"/>
          <p:nvPr/>
        </p:nvSpPr>
        <p:spPr>
          <a:xfrm>
            <a:off x="4767549" y="1951817"/>
            <a:ext cx="7042533" cy="4154984"/>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en-GB" sz="2200" b="0" i="0">
                <a:solidFill>
                  <a:srgbClr val="000000"/>
                </a:solidFill>
                <a:effectLst/>
              </a:rPr>
              <a:t>Tackling climate change is top of the political </a:t>
            </a:r>
            <a:r>
              <a:rPr lang="en-GB" sz="2200">
                <a:solidFill>
                  <a:srgbClr val="000000"/>
                </a:solidFill>
              </a:rPr>
              <a:t>agenda - today</a:t>
            </a:r>
            <a:r>
              <a:rPr lang="en-GB" sz="2200" b="0" i="0">
                <a:solidFill>
                  <a:srgbClr val="000000"/>
                </a:solidFill>
                <a:effectLst/>
              </a:rPr>
              <a:t> is </a:t>
            </a:r>
            <a:r>
              <a:rPr lang="en-GB" sz="2200">
                <a:solidFill>
                  <a:srgbClr val="000000"/>
                </a:solidFill>
              </a:rPr>
              <a:t>"</a:t>
            </a:r>
            <a:r>
              <a:rPr lang="en-GB" sz="2200" b="0" i="0">
                <a:solidFill>
                  <a:srgbClr val="000000"/>
                </a:solidFill>
                <a:effectLst/>
              </a:rPr>
              <a:t>transport day</a:t>
            </a:r>
            <a:r>
              <a:rPr lang="en-GB" sz="2200">
                <a:solidFill>
                  <a:srgbClr val="000000"/>
                </a:solidFill>
              </a:rPr>
              <a:t>"</a:t>
            </a:r>
            <a:r>
              <a:rPr lang="en-GB" sz="2200" b="0" i="0">
                <a:solidFill>
                  <a:srgbClr val="000000"/>
                </a:solidFill>
                <a:effectLst/>
              </a:rPr>
              <a:t> at COP26</a:t>
            </a:r>
          </a:p>
          <a:p>
            <a:pPr marL="285750" indent="-285750">
              <a:buFont typeface="Arial" panose="020B0604020202020204" pitchFamily="34" charset="0"/>
              <a:buChar char="•"/>
            </a:pPr>
            <a:endParaRPr lang="en-GB" sz="2200">
              <a:ea typeface="+mn-lt"/>
              <a:cs typeface="+mn-lt"/>
            </a:endParaRPr>
          </a:p>
          <a:p>
            <a:pPr marL="285750" indent="-285750">
              <a:buFont typeface="Arial" panose="020B0604020202020204" pitchFamily="34" charset="0"/>
              <a:buChar char="•"/>
            </a:pPr>
            <a:r>
              <a:rPr lang="en-GB" sz="2200">
                <a:ea typeface="+mn-lt"/>
                <a:cs typeface="+mn-lt"/>
              </a:rPr>
              <a:t>World leaders are currently discussing binding commitments on how to tackle transport emissions across the globe</a:t>
            </a:r>
            <a:endParaRPr lang="en-GB" sz="2200">
              <a:solidFill>
                <a:srgbClr val="000000"/>
              </a:solidFill>
            </a:endParaRPr>
          </a:p>
          <a:p>
            <a:pPr marL="285750" indent="-285750">
              <a:buFont typeface="Arial" panose="020B0604020202020204" pitchFamily="34" charset="0"/>
              <a:buChar char="•"/>
            </a:pPr>
            <a:endParaRPr lang="en-GB" sz="2200">
              <a:solidFill>
                <a:srgbClr val="000000"/>
              </a:solidFill>
            </a:endParaRPr>
          </a:p>
          <a:p>
            <a:pPr marL="285750" indent="-285750">
              <a:buFont typeface="Arial" panose="020B0604020202020204" pitchFamily="34" charset="0"/>
              <a:buChar char="•"/>
            </a:pPr>
            <a:r>
              <a:rPr lang="en-GB" sz="2200">
                <a:solidFill>
                  <a:srgbClr val="000000"/>
                </a:solidFill>
              </a:rPr>
              <a:t>Logistics UK’s decarbonisation manifesto provides: </a:t>
            </a:r>
            <a:endParaRPr lang="en-GB" sz="2200">
              <a:solidFill>
                <a:srgbClr val="000000"/>
              </a:solidFill>
              <a:cs typeface="Times New Roman"/>
            </a:endParaRPr>
          </a:p>
          <a:p>
            <a:pPr marL="742950" lvl="1" indent="-285750">
              <a:buFont typeface="Arial" panose="020B0604020202020204" pitchFamily="34" charset="0"/>
              <a:buChar char="•"/>
            </a:pPr>
            <a:r>
              <a:rPr lang="en-GB" sz="2200">
                <a:cs typeface="Times New Roman"/>
              </a:rPr>
              <a:t>Road</a:t>
            </a:r>
            <a:r>
              <a:rPr lang="en-GB" sz="2200">
                <a:effectLst/>
                <a:ea typeface="Calibri" panose="020F0502020204030204" pitchFamily="34" charset="0"/>
                <a:cs typeface="Times New Roman"/>
              </a:rPr>
              <a:t> map to decarbonise logistics across all transport </a:t>
            </a:r>
            <a:r>
              <a:rPr lang="en-GB" sz="2200">
                <a:ea typeface="Calibri" panose="020F0502020204030204" pitchFamily="34" charset="0"/>
                <a:cs typeface="Times New Roman"/>
              </a:rPr>
              <a:t>modes</a:t>
            </a:r>
          </a:p>
          <a:p>
            <a:pPr marL="742950" lvl="1" indent="-285750">
              <a:buFont typeface="Arial" panose="020B0604020202020204" pitchFamily="34" charset="0"/>
              <a:buChar char="•"/>
            </a:pPr>
            <a:r>
              <a:rPr lang="en-GB" sz="2200">
                <a:ea typeface="Calibri" panose="020F0502020204030204" pitchFamily="34" charset="0"/>
                <a:cs typeface="Times New Roman"/>
              </a:rPr>
              <a:t>Measures</a:t>
            </a:r>
            <a:r>
              <a:rPr lang="en-GB" sz="2200">
                <a:effectLst/>
                <a:ea typeface="Calibri" panose="020F0502020204030204" pitchFamily="34" charset="0"/>
                <a:cs typeface="Times New Roman"/>
              </a:rPr>
              <a:t> industry needs from government and other stakeholders to make this a reality</a:t>
            </a:r>
            <a:endParaRPr lang="en-GB" sz="2200">
              <a:cs typeface="Times New Roman"/>
            </a:endParaRPr>
          </a:p>
        </p:txBody>
      </p:sp>
    </p:spTree>
    <p:extLst>
      <p:ext uri="{BB962C8B-B14F-4D97-AF65-F5344CB8AC3E}">
        <p14:creationId xmlns:p14="http://schemas.microsoft.com/office/powerpoint/2010/main" val="42045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B7F297-7859-41C2-B5BC-F6933646D4DD}"/>
              </a:ext>
            </a:extLst>
          </p:cNvPr>
          <p:cNvSpPr>
            <a:spLocks noGrp="1"/>
          </p:cNvSpPr>
          <p:nvPr>
            <p:ph type="title"/>
          </p:nvPr>
        </p:nvSpPr>
        <p:spPr/>
        <p:txBody>
          <a:bodyPr/>
          <a:lstStyle/>
          <a:p>
            <a:r>
              <a:rPr lang="en-GB"/>
              <a:t>Route to Net Zero commitment </a:t>
            </a:r>
          </a:p>
        </p:txBody>
      </p:sp>
      <p:pic>
        <p:nvPicPr>
          <p:cNvPr id="3" name="Picture 2">
            <a:extLst>
              <a:ext uri="{FF2B5EF4-FFF2-40B4-BE49-F238E27FC236}">
                <a16:creationId xmlns:a16="http://schemas.microsoft.com/office/drawing/2014/main" id="{45189531-35AD-40CE-B231-003480773BF3}"/>
              </a:ext>
            </a:extLst>
          </p:cNvPr>
          <p:cNvPicPr>
            <a:picLocks noChangeAspect="1"/>
          </p:cNvPicPr>
          <p:nvPr/>
        </p:nvPicPr>
        <p:blipFill>
          <a:blip r:embed="rId2"/>
          <a:stretch>
            <a:fillRect/>
          </a:stretch>
        </p:blipFill>
        <p:spPr>
          <a:xfrm>
            <a:off x="8517276" y="4369563"/>
            <a:ext cx="3274067" cy="2122557"/>
          </a:xfrm>
          <a:prstGeom prst="rect">
            <a:avLst/>
          </a:prstGeom>
        </p:spPr>
      </p:pic>
      <p:sp>
        <p:nvSpPr>
          <p:cNvPr id="5" name="TextBox 4">
            <a:extLst>
              <a:ext uri="{FF2B5EF4-FFF2-40B4-BE49-F238E27FC236}">
                <a16:creationId xmlns:a16="http://schemas.microsoft.com/office/drawing/2014/main" id="{0ADEACBC-32F0-4851-9822-9A70B114F8E4}"/>
              </a:ext>
            </a:extLst>
          </p:cNvPr>
          <p:cNvSpPr txBox="1"/>
          <p:nvPr/>
        </p:nvSpPr>
        <p:spPr>
          <a:xfrm>
            <a:off x="616760" y="1643896"/>
            <a:ext cx="10958480" cy="1785104"/>
          </a:xfrm>
          <a:prstGeom prst="rect">
            <a:avLst/>
          </a:prstGeom>
          <a:noFill/>
        </p:spPr>
        <p:txBody>
          <a:bodyPr wrap="square">
            <a:spAutoFit/>
          </a:bodyPr>
          <a:lstStyle/>
          <a:p>
            <a:r>
              <a:rPr lang="en-GB" sz="2200" b="0" i="0">
                <a:solidFill>
                  <a:srgbClr val="000000"/>
                </a:solidFill>
                <a:effectLst/>
                <a:latin typeface="Arial" panose="020B0604020202020204" pitchFamily="34" charset="0"/>
              </a:rPr>
              <a:t>Logistics UK is asking its members to sign up to its Route to Net Zero commitment and pledge to reduce their greenhouse gas emissions as quickly and effectively as possible on the pathway to net zero.</a:t>
            </a:r>
          </a:p>
          <a:p>
            <a:endParaRPr lang="en-GB" sz="2200" b="0" i="0">
              <a:solidFill>
                <a:srgbClr val="000000"/>
              </a:solidFill>
              <a:effectLst/>
              <a:latin typeface="Arial" panose="020B0604020202020204" pitchFamily="34" charset="0"/>
            </a:endParaRPr>
          </a:p>
          <a:p>
            <a:endParaRPr lang="en-GB" sz="2200"/>
          </a:p>
        </p:txBody>
      </p:sp>
      <p:sp>
        <p:nvSpPr>
          <p:cNvPr id="7" name="TextBox 6">
            <a:extLst>
              <a:ext uri="{FF2B5EF4-FFF2-40B4-BE49-F238E27FC236}">
                <a16:creationId xmlns:a16="http://schemas.microsoft.com/office/drawing/2014/main" id="{4AD147FD-406A-4BD9-A4B1-09E3EADCFEF3}"/>
              </a:ext>
            </a:extLst>
          </p:cNvPr>
          <p:cNvSpPr txBox="1"/>
          <p:nvPr/>
        </p:nvSpPr>
        <p:spPr>
          <a:xfrm>
            <a:off x="616760" y="3129840"/>
            <a:ext cx="9763699" cy="769441"/>
          </a:xfrm>
          <a:prstGeom prst="rect">
            <a:avLst/>
          </a:prstGeom>
          <a:noFill/>
        </p:spPr>
        <p:txBody>
          <a:bodyPr wrap="square">
            <a:spAutoFit/>
          </a:bodyPr>
          <a:lstStyle/>
          <a:p>
            <a:r>
              <a:rPr lang="en-GB" sz="2200"/>
              <a:t>Visit </a:t>
            </a:r>
            <a:r>
              <a:rPr lang="en-GB" sz="2200">
                <a:hlinkClick r:id="rId3"/>
              </a:rPr>
              <a:t>logistics.org.uk/environment/</a:t>
            </a:r>
            <a:r>
              <a:rPr lang="en-GB" sz="2200" err="1">
                <a:hlinkClick r:id="rId3"/>
              </a:rPr>
              <a:t>netzero</a:t>
            </a:r>
            <a:r>
              <a:rPr lang="en-GB" sz="2200"/>
              <a:t> for more information and to submit your application.</a:t>
            </a:r>
          </a:p>
        </p:txBody>
      </p:sp>
      <p:sp>
        <p:nvSpPr>
          <p:cNvPr id="9" name="TextBox 8">
            <a:extLst>
              <a:ext uri="{FF2B5EF4-FFF2-40B4-BE49-F238E27FC236}">
                <a16:creationId xmlns:a16="http://schemas.microsoft.com/office/drawing/2014/main" id="{B0BC8AB0-7341-4A0A-85F9-1571F200B6A6}"/>
              </a:ext>
            </a:extLst>
          </p:cNvPr>
          <p:cNvSpPr txBox="1"/>
          <p:nvPr/>
        </p:nvSpPr>
        <p:spPr>
          <a:xfrm>
            <a:off x="616760" y="4275385"/>
            <a:ext cx="7433082" cy="1446550"/>
          </a:xfrm>
          <a:prstGeom prst="rect">
            <a:avLst/>
          </a:prstGeom>
          <a:noFill/>
        </p:spPr>
        <p:txBody>
          <a:bodyPr wrap="square">
            <a:spAutoFit/>
          </a:bodyPr>
          <a:lstStyle/>
          <a:p>
            <a:r>
              <a:rPr lang="en-GB" sz="2200">
                <a:solidFill>
                  <a:srgbClr val="000000"/>
                </a:solidFill>
                <a:latin typeface="Arial" panose="020B0604020202020204" pitchFamily="34" charset="0"/>
              </a:rPr>
              <a:t>Route to Net Zero members </a:t>
            </a:r>
            <a:r>
              <a:rPr lang="en-GB" sz="2200" b="0" i="0">
                <a:solidFill>
                  <a:srgbClr val="000000"/>
                </a:solidFill>
                <a:effectLst/>
                <a:latin typeface="Arial" panose="020B0604020202020204" pitchFamily="34" charset="0"/>
              </a:rPr>
              <a:t>John Lewis Partnership and Scottish Water are joining us this morning to talk about the steps they have taken so far to decarbonise, and their plans going forward.  </a:t>
            </a:r>
            <a:endParaRPr lang="en-GB" sz="2200"/>
          </a:p>
        </p:txBody>
      </p:sp>
    </p:spTree>
    <p:extLst>
      <p:ext uri="{BB962C8B-B14F-4D97-AF65-F5344CB8AC3E}">
        <p14:creationId xmlns:p14="http://schemas.microsoft.com/office/powerpoint/2010/main" val="2607164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9B461-910A-477E-81FC-7D30F7CFE1B0}"/>
              </a:ext>
            </a:extLst>
          </p:cNvPr>
          <p:cNvSpPr>
            <a:spLocks noGrp="1"/>
          </p:cNvSpPr>
          <p:nvPr>
            <p:ph type="title"/>
          </p:nvPr>
        </p:nvSpPr>
        <p:spPr/>
        <p:txBody>
          <a:bodyPr/>
          <a:lstStyle/>
          <a:p>
            <a:r>
              <a:rPr lang="en-GB"/>
              <a:t>The journey so far</a:t>
            </a:r>
          </a:p>
        </p:txBody>
      </p:sp>
      <p:pic>
        <p:nvPicPr>
          <p:cNvPr id="3" name="Content Placeholder 4">
            <a:extLst>
              <a:ext uri="{FF2B5EF4-FFF2-40B4-BE49-F238E27FC236}">
                <a16:creationId xmlns:a16="http://schemas.microsoft.com/office/drawing/2014/main" id="{4272AC8E-5DC8-45D7-AF30-8050F5C17D9E}"/>
              </a:ext>
            </a:extLst>
          </p:cNvPr>
          <p:cNvPicPr>
            <a:picLocks noChangeAspect="1"/>
          </p:cNvPicPr>
          <p:nvPr/>
        </p:nvPicPr>
        <p:blipFill rotWithShape="1">
          <a:blip r:embed="rId3"/>
          <a:srcRect l="7169" t="21256" r="58750" b="19339"/>
          <a:stretch/>
        </p:blipFill>
        <p:spPr>
          <a:xfrm>
            <a:off x="812848" y="1567542"/>
            <a:ext cx="10791578" cy="5290458"/>
          </a:xfrm>
          <a:prstGeom prst="rect">
            <a:avLst/>
          </a:prstGeom>
        </p:spPr>
      </p:pic>
    </p:spTree>
    <p:extLst>
      <p:ext uri="{BB962C8B-B14F-4D97-AF65-F5344CB8AC3E}">
        <p14:creationId xmlns:p14="http://schemas.microsoft.com/office/powerpoint/2010/main" val="3682028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C89D97-5665-47E1-811E-7E91EFD9BE1B}"/>
              </a:ext>
            </a:extLst>
          </p:cNvPr>
          <p:cNvSpPr>
            <a:spLocks noGrp="1"/>
          </p:cNvSpPr>
          <p:nvPr>
            <p:ph type="title"/>
          </p:nvPr>
        </p:nvSpPr>
        <p:spPr/>
        <p:txBody>
          <a:bodyPr/>
          <a:lstStyle/>
          <a:p>
            <a:r>
              <a:rPr lang="en-GB"/>
              <a:t>The journey so far</a:t>
            </a:r>
          </a:p>
        </p:txBody>
      </p:sp>
      <p:pic>
        <p:nvPicPr>
          <p:cNvPr id="4" name="Picture 3">
            <a:extLst>
              <a:ext uri="{FF2B5EF4-FFF2-40B4-BE49-F238E27FC236}">
                <a16:creationId xmlns:a16="http://schemas.microsoft.com/office/drawing/2014/main" id="{FDDBE1BD-63FC-40AC-B09C-7DC271530CB8}"/>
              </a:ext>
            </a:extLst>
          </p:cNvPr>
          <p:cNvPicPr>
            <a:picLocks noChangeAspect="1"/>
          </p:cNvPicPr>
          <p:nvPr/>
        </p:nvPicPr>
        <p:blipFill rotWithShape="1">
          <a:blip r:embed="rId3"/>
          <a:srcRect l="1469" t="24248" r="29819" b="58592"/>
          <a:stretch/>
        </p:blipFill>
        <p:spPr>
          <a:xfrm>
            <a:off x="5618510" y="5093647"/>
            <a:ext cx="6376827" cy="313642"/>
          </a:xfrm>
          <a:prstGeom prst="rect">
            <a:avLst/>
          </a:prstGeom>
        </p:spPr>
      </p:pic>
      <p:pic>
        <p:nvPicPr>
          <p:cNvPr id="6" name="Picture 5">
            <a:extLst>
              <a:ext uri="{FF2B5EF4-FFF2-40B4-BE49-F238E27FC236}">
                <a16:creationId xmlns:a16="http://schemas.microsoft.com/office/drawing/2014/main" id="{93AEC072-297A-4FDC-BFC7-439CDBFC663E}"/>
              </a:ext>
            </a:extLst>
          </p:cNvPr>
          <p:cNvPicPr>
            <a:picLocks noChangeAspect="1"/>
          </p:cNvPicPr>
          <p:nvPr/>
        </p:nvPicPr>
        <p:blipFill rotWithShape="1">
          <a:blip r:embed="rId4"/>
          <a:srcRect b="33848"/>
          <a:stretch/>
        </p:blipFill>
        <p:spPr>
          <a:xfrm>
            <a:off x="494712" y="5253736"/>
            <a:ext cx="5123798" cy="685285"/>
          </a:xfrm>
          <a:prstGeom prst="rect">
            <a:avLst/>
          </a:prstGeom>
        </p:spPr>
      </p:pic>
      <p:pic>
        <p:nvPicPr>
          <p:cNvPr id="8" name="Picture 7">
            <a:extLst>
              <a:ext uri="{FF2B5EF4-FFF2-40B4-BE49-F238E27FC236}">
                <a16:creationId xmlns:a16="http://schemas.microsoft.com/office/drawing/2014/main" id="{8DC0696D-2A7E-4F97-997B-C93C1633E688}"/>
              </a:ext>
            </a:extLst>
          </p:cNvPr>
          <p:cNvPicPr>
            <a:picLocks noChangeAspect="1"/>
          </p:cNvPicPr>
          <p:nvPr/>
        </p:nvPicPr>
        <p:blipFill>
          <a:blip r:embed="rId5"/>
          <a:stretch>
            <a:fillRect/>
          </a:stretch>
        </p:blipFill>
        <p:spPr>
          <a:xfrm>
            <a:off x="6874003" y="1582487"/>
            <a:ext cx="4622780" cy="888824"/>
          </a:xfrm>
          <a:prstGeom prst="rect">
            <a:avLst/>
          </a:prstGeom>
        </p:spPr>
      </p:pic>
      <p:pic>
        <p:nvPicPr>
          <p:cNvPr id="10" name="Picture 9">
            <a:extLst>
              <a:ext uri="{FF2B5EF4-FFF2-40B4-BE49-F238E27FC236}">
                <a16:creationId xmlns:a16="http://schemas.microsoft.com/office/drawing/2014/main" id="{77DE7984-AED0-4A38-81A8-09E877A528BA}"/>
              </a:ext>
            </a:extLst>
          </p:cNvPr>
          <p:cNvPicPr>
            <a:picLocks noChangeAspect="1"/>
          </p:cNvPicPr>
          <p:nvPr/>
        </p:nvPicPr>
        <p:blipFill>
          <a:blip r:embed="rId6"/>
          <a:stretch>
            <a:fillRect/>
          </a:stretch>
        </p:blipFill>
        <p:spPr>
          <a:xfrm>
            <a:off x="6770353" y="3264504"/>
            <a:ext cx="4622781" cy="933756"/>
          </a:xfrm>
          <a:prstGeom prst="rect">
            <a:avLst/>
          </a:prstGeom>
        </p:spPr>
      </p:pic>
      <p:pic>
        <p:nvPicPr>
          <p:cNvPr id="12" name="Picture 11">
            <a:extLst>
              <a:ext uri="{FF2B5EF4-FFF2-40B4-BE49-F238E27FC236}">
                <a16:creationId xmlns:a16="http://schemas.microsoft.com/office/drawing/2014/main" id="{084B1A45-DD46-43FF-83E4-6D4DF8E55A29}"/>
              </a:ext>
            </a:extLst>
          </p:cNvPr>
          <p:cNvPicPr>
            <a:picLocks noChangeAspect="1"/>
          </p:cNvPicPr>
          <p:nvPr/>
        </p:nvPicPr>
        <p:blipFill>
          <a:blip r:embed="rId7"/>
          <a:stretch>
            <a:fillRect/>
          </a:stretch>
        </p:blipFill>
        <p:spPr>
          <a:xfrm>
            <a:off x="1842525" y="2604330"/>
            <a:ext cx="8178176" cy="482537"/>
          </a:xfrm>
          <a:prstGeom prst="rect">
            <a:avLst/>
          </a:prstGeom>
        </p:spPr>
      </p:pic>
      <p:pic>
        <p:nvPicPr>
          <p:cNvPr id="18" name="Picture 17">
            <a:extLst>
              <a:ext uri="{FF2B5EF4-FFF2-40B4-BE49-F238E27FC236}">
                <a16:creationId xmlns:a16="http://schemas.microsoft.com/office/drawing/2014/main" id="{054D15FE-99BE-420C-9A9C-255572B7FD25}"/>
              </a:ext>
            </a:extLst>
          </p:cNvPr>
          <p:cNvPicPr>
            <a:picLocks noChangeAspect="1"/>
          </p:cNvPicPr>
          <p:nvPr/>
        </p:nvPicPr>
        <p:blipFill>
          <a:blip r:embed="rId8"/>
          <a:stretch>
            <a:fillRect/>
          </a:stretch>
        </p:blipFill>
        <p:spPr>
          <a:xfrm>
            <a:off x="525325" y="4364975"/>
            <a:ext cx="7270517" cy="685285"/>
          </a:xfrm>
          <a:prstGeom prst="rect">
            <a:avLst/>
          </a:prstGeom>
        </p:spPr>
      </p:pic>
      <p:pic>
        <p:nvPicPr>
          <p:cNvPr id="20" name="Picture 19">
            <a:extLst>
              <a:ext uri="{FF2B5EF4-FFF2-40B4-BE49-F238E27FC236}">
                <a16:creationId xmlns:a16="http://schemas.microsoft.com/office/drawing/2014/main" id="{403D28B6-BC6E-4A49-8B54-C4A64C4E6750}"/>
              </a:ext>
            </a:extLst>
          </p:cNvPr>
          <p:cNvPicPr>
            <a:picLocks noChangeAspect="1"/>
          </p:cNvPicPr>
          <p:nvPr/>
        </p:nvPicPr>
        <p:blipFill>
          <a:blip r:embed="rId9"/>
          <a:stretch>
            <a:fillRect/>
          </a:stretch>
        </p:blipFill>
        <p:spPr>
          <a:xfrm>
            <a:off x="525325" y="3220776"/>
            <a:ext cx="5865202" cy="754852"/>
          </a:xfrm>
          <a:prstGeom prst="rect">
            <a:avLst/>
          </a:prstGeom>
        </p:spPr>
      </p:pic>
      <p:pic>
        <p:nvPicPr>
          <p:cNvPr id="22" name="Picture 21">
            <a:extLst>
              <a:ext uri="{FF2B5EF4-FFF2-40B4-BE49-F238E27FC236}">
                <a16:creationId xmlns:a16="http://schemas.microsoft.com/office/drawing/2014/main" id="{EC189975-60B8-4314-979F-45036C3DCD32}"/>
              </a:ext>
            </a:extLst>
          </p:cNvPr>
          <p:cNvPicPr>
            <a:picLocks noChangeAspect="1"/>
          </p:cNvPicPr>
          <p:nvPr/>
        </p:nvPicPr>
        <p:blipFill>
          <a:blip r:embed="rId10"/>
          <a:stretch>
            <a:fillRect/>
          </a:stretch>
        </p:blipFill>
        <p:spPr>
          <a:xfrm>
            <a:off x="695217" y="1657050"/>
            <a:ext cx="5999581" cy="647082"/>
          </a:xfrm>
          <a:prstGeom prst="rect">
            <a:avLst/>
          </a:prstGeom>
        </p:spPr>
      </p:pic>
      <p:pic>
        <p:nvPicPr>
          <p:cNvPr id="24" name="Picture 23">
            <a:extLst>
              <a:ext uri="{FF2B5EF4-FFF2-40B4-BE49-F238E27FC236}">
                <a16:creationId xmlns:a16="http://schemas.microsoft.com/office/drawing/2014/main" id="{27BCA897-0BE8-45EB-9B2F-90642075476B}"/>
              </a:ext>
            </a:extLst>
          </p:cNvPr>
          <p:cNvPicPr>
            <a:picLocks noChangeAspect="1"/>
          </p:cNvPicPr>
          <p:nvPr/>
        </p:nvPicPr>
        <p:blipFill>
          <a:blip r:embed="rId11"/>
          <a:stretch>
            <a:fillRect/>
          </a:stretch>
        </p:blipFill>
        <p:spPr>
          <a:xfrm>
            <a:off x="3829158" y="5938705"/>
            <a:ext cx="7667625" cy="714375"/>
          </a:xfrm>
          <a:prstGeom prst="rect">
            <a:avLst/>
          </a:prstGeom>
        </p:spPr>
      </p:pic>
    </p:spTree>
    <p:extLst>
      <p:ext uri="{BB962C8B-B14F-4D97-AF65-F5344CB8AC3E}">
        <p14:creationId xmlns:p14="http://schemas.microsoft.com/office/powerpoint/2010/main" val="914860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3F4EA43-C851-42BF-A33A-5E65D31C42F1}"/>
              </a:ext>
            </a:extLst>
          </p:cNvPr>
          <p:cNvPicPr>
            <a:picLocks noChangeAspect="1"/>
          </p:cNvPicPr>
          <p:nvPr/>
        </p:nvPicPr>
        <p:blipFill rotWithShape="1">
          <a:blip r:embed="rId2"/>
          <a:srcRect t="27309" b="58233"/>
          <a:stretch/>
        </p:blipFill>
        <p:spPr>
          <a:xfrm>
            <a:off x="0" y="412713"/>
            <a:ext cx="5824251" cy="991519"/>
          </a:xfrm>
          <a:prstGeom prst="rect">
            <a:avLst/>
          </a:prstGeom>
        </p:spPr>
      </p:pic>
      <p:pic>
        <p:nvPicPr>
          <p:cNvPr id="7" name="Picture 6">
            <a:extLst>
              <a:ext uri="{FF2B5EF4-FFF2-40B4-BE49-F238E27FC236}">
                <a16:creationId xmlns:a16="http://schemas.microsoft.com/office/drawing/2014/main" id="{5769ECC1-7AE3-44A4-95D6-EF3162045F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93305" y="4038783"/>
            <a:ext cx="4698695" cy="2819217"/>
          </a:xfrm>
          <a:prstGeom prst="rect">
            <a:avLst/>
          </a:prstGeom>
        </p:spPr>
      </p:pic>
      <p:pic>
        <p:nvPicPr>
          <p:cNvPr id="9" name="Picture 8">
            <a:extLst>
              <a:ext uri="{FF2B5EF4-FFF2-40B4-BE49-F238E27FC236}">
                <a16:creationId xmlns:a16="http://schemas.microsoft.com/office/drawing/2014/main" id="{CC8E1B2A-B4AB-465C-9110-7B698FCBDBA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43033" y="1404232"/>
            <a:ext cx="4748968" cy="2849381"/>
          </a:xfrm>
          <a:prstGeom prst="rect">
            <a:avLst/>
          </a:prstGeom>
        </p:spPr>
      </p:pic>
      <p:sp>
        <p:nvSpPr>
          <p:cNvPr id="2" name="Title 1">
            <a:extLst>
              <a:ext uri="{FF2B5EF4-FFF2-40B4-BE49-F238E27FC236}">
                <a16:creationId xmlns:a16="http://schemas.microsoft.com/office/drawing/2014/main" id="{09B95FD2-1B5A-4DAD-9A16-6A34C31F6100}"/>
              </a:ext>
            </a:extLst>
          </p:cNvPr>
          <p:cNvSpPr>
            <a:spLocks noGrp="1"/>
          </p:cNvSpPr>
          <p:nvPr>
            <p:ph type="title"/>
          </p:nvPr>
        </p:nvSpPr>
        <p:spPr>
          <a:xfrm>
            <a:off x="2779555" y="647106"/>
            <a:ext cx="8676000" cy="369332"/>
          </a:xfrm>
        </p:spPr>
        <p:txBody>
          <a:bodyPr/>
          <a:lstStyle/>
          <a:p>
            <a:r>
              <a:rPr lang="en-GB">
                <a:solidFill>
                  <a:schemeClr val="bg1"/>
                </a:solidFill>
              </a:rPr>
              <a:t>Road freight</a:t>
            </a:r>
          </a:p>
        </p:txBody>
      </p:sp>
      <p:sp>
        <p:nvSpPr>
          <p:cNvPr id="11" name="TextBox 10">
            <a:extLst>
              <a:ext uri="{FF2B5EF4-FFF2-40B4-BE49-F238E27FC236}">
                <a16:creationId xmlns:a16="http://schemas.microsoft.com/office/drawing/2014/main" id="{0F3D7492-69F7-4A2E-AFAA-3183AF8DE74F}"/>
              </a:ext>
            </a:extLst>
          </p:cNvPr>
          <p:cNvSpPr txBox="1"/>
          <p:nvPr/>
        </p:nvSpPr>
        <p:spPr>
          <a:xfrm>
            <a:off x="283684" y="1903030"/>
            <a:ext cx="6097836" cy="4493538"/>
          </a:xfrm>
          <a:prstGeom prst="rect">
            <a:avLst/>
          </a:prstGeom>
          <a:noFill/>
        </p:spPr>
        <p:txBody>
          <a:bodyPr wrap="square">
            <a:spAutoFit/>
          </a:bodyPr>
          <a:lstStyle/>
          <a:p>
            <a:pPr marL="285750" indent="-285750">
              <a:buFont typeface="Arial" panose="020B0604020202020204" pitchFamily="34" charset="0"/>
              <a:buChar char="•"/>
            </a:pPr>
            <a:r>
              <a:rPr lang="en-GB" sz="2200">
                <a:solidFill>
                  <a:srgbClr val="000000"/>
                </a:solidFill>
              </a:rPr>
              <a:t>U</a:t>
            </a:r>
            <a:r>
              <a:rPr lang="en-GB" sz="2200" b="0" i="0">
                <a:solidFill>
                  <a:srgbClr val="000000"/>
                </a:solidFill>
                <a:effectLst/>
              </a:rPr>
              <a:t>ptake of battery electric vans is growing among members but adequate supporting infrastructure and power supply funding remain challenges </a:t>
            </a:r>
          </a:p>
          <a:p>
            <a:endParaRPr lang="en-GB" sz="2200" b="0" i="0">
              <a:solidFill>
                <a:srgbClr val="000000"/>
              </a:solidFill>
              <a:effectLst/>
            </a:endParaRPr>
          </a:p>
          <a:p>
            <a:pPr marL="285750" indent="-285750">
              <a:buFont typeface="Arial" panose="020B0604020202020204" pitchFamily="34" charset="0"/>
              <a:buChar char="•"/>
            </a:pPr>
            <a:r>
              <a:rPr lang="en-GB" sz="2200">
                <a:solidFill>
                  <a:srgbClr val="000000"/>
                </a:solidFill>
                <a:effectLst/>
                <a:ea typeface="Calibri" panose="020F0502020204030204" pitchFamily="34" charset="0"/>
                <a:cs typeface="Times New Roman" panose="02020603050405020304" pitchFamily="18" charset="0"/>
              </a:rPr>
              <a:t>The picture for HGVs is more uncertain, with battery electric, electric road systems, and hydrogen all being explored</a:t>
            </a:r>
          </a:p>
          <a:p>
            <a:pPr marL="285750" indent="-285750">
              <a:buFont typeface="Arial" panose="020B0604020202020204" pitchFamily="34" charset="0"/>
              <a:buChar char="•"/>
            </a:pPr>
            <a:endParaRPr lang="en-GB" sz="2200">
              <a:solidFill>
                <a:srgbClr val="000000"/>
              </a:solidFill>
              <a:cs typeface="Times New Roman" panose="02020603050405020304" pitchFamily="18" charset="0"/>
            </a:endParaRPr>
          </a:p>
          <a:p>
            <a:pPr marL="285750" indent="-285750">
              <a:buFont typeface="Arial" panose="020B0604020202020204" pitchFamily="34" charset="0"/>
              <a:buChar char="•"/>
            </a:pPr>
            <a:r>
              <a:rPr lang="en-GB" sz="2200">
                <a:solidFill>
                  <a:srgbClr val="000000"/>
                </a:solidFill>
                <a:cs typeface="Times New Roman" panose="02020603050405020304" pitchFamily="18" charset="0"/>
              </a:rPr>
              <a:t>While long-term HGV solutions are being developed, there are still many steps logistics businesses can take now to decarbonise their operations </a:t>
            </a:r>
            <a:endParaRPr lang="en-GB" sz="2200">
              <a:solidFill>
                <a:srgbClr val="000000"/>
              </a:solidFill>
            </a:endParaRPr>
          </a:p>
        </p:txBody>
      </p:sp>
    </p:spTree>
    <p:extLst>
      <p:ext uri="{BB962C8B-B14F-4D97-AF65-F5344CB8AC3E}">
        <p14:creationId xmlns:p14="http://schemas.microsoft.com/office/powerpoint/2010/main" val="4281382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sky, outdoor, blue, green&#10;&#10;Description automatically generated">
            <a:extLst>
              <a:ext uri="{FF2B5EF4-FFF2-40B4-BE49-F238E27FC236}">
                <a16:creationId xmlns:a16="http://schemas.microsoft.com/office/drawing/2014/main" id="{8AEF7101-BBCA-4503-8F0D-08BCD97F6C9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07329" y="4335694"/>
            <a:ext cx="8031444" cy="2522306"/>
          </a:xfrm>
          <a:prstGeom prst="rect">
            <a:avLst/>
          </a:prstGeom>
        </p:spPr>
      </p:pic>
      <p:sp>
        <p:nvSpPr>
          <p:cNvPr id="7" name="TextBox 6">
            <a:extLst>
              <a:ext uri="{FF2B5EF4-FFF2-40B4-BE49-F238E27FC236}">
                <a16:creationId xmlns:a16="http://schemas.microsoft.com/office/drawing/2014/main" id="{537C5BEC-4F30-493D-BEB2-AD8E2D689ABD}"/>
              </a:ext>
            </a:extLst>
          </p:cNvPr>
          <p:cNvSpPr txBox="1"/>
          <p:nvPr/>
        </p:nvSpPr>
        <p:spPr>
          <a:xfrm>
            <a:off x="308223" y="1596483"/>
            <a:ext cx="11229655" cy="2739211"/>
          </a:xfrm>
          <a:prstGeom prst="rect">
            <a:avLst/>
          </a:prstGeom>
          <a:noFill/>
        </p:spPr>
        <p:txBody>
          <a:bodyPr wrap="square">
            <a:spAutoFit/>
          </a:bodyPr>
          <a:lstStyle/>
          <a:p>
            <a:pPr marL="285750" indent="-285750">
              <a:buFont typeface="Arial" panose="020B0604020202020204" pitchFamily="34" charset="0"/>
              <a:buChar char="•"/>
            </a:pPr>
            <a:r>
              <a:rPr lang="en-GB" sz="2200" b="0" i="0">
                <a:solidFill>
                  <a:srgbClr val="000000"/>
                </a:solidFill>
                <a:effectLst/>
              </a:rPr>
              <a:t>Modal shift to rail or water can help to remove vehicles off the road and reduce emissions</a:t>
            </a:r>
          </a:p>
          <a:p>
            <a:pPr marL="285750" indent="-285750">
              <a:buFont typeface="Arial" panose="020B0604020202020204" pitchFamily="34" charset="0"/>
              <a:buChar char="•"/>
            </a:pPr>
            <a:r>
              <a:rPr lang="en-GB" sz="2200">
                <a:solidFill>
                  <a:srgbClr val="000000"/>
                </a:solidFill>
              </a:rPr>
              <a:t>Logistics UK supports the Government’s rail freight growth target, along with its </a:t>
            </a:r>
            <a:r>
              <a:rPr lang="en-GB" sz="2200" b="0" i="0">
                <a:solidFill>
                  <a:srgbClr val="000000"/>
                </a:solidFill>
                <a:effectLst/>
              </a:rPr>
              <a:t>pledge to pursue infill electrification</a:t>
            </a:r>
            <a:endParaRPr lang="en-GB" sz="2200">
              <a:solidFill>
                <a:srgbClr val="000000"/>
              </a:solidFill>
            </a:endParaRPr>
          </a:p>
          <a:p>
            <a:pPr marL="285750" indent="-285750">
              <a:buFont typeface="Arial" panose="020B0604020202020204" pitchFamily="34" charset="0"/>
              <a:buChar char="•"/>
            </a:pPr>
            <a:r>
              <a:rPr lang="en-GB" sz="2200">
                <a:solidFill>
                  <a:srgbClr val="000000"/>
                </a:solidFill>
              </a:rPr>
              <a:t>Logistics UK supports </a:t>
            </a:r>
            <a:r>
              <a:rPr lang="en-GB" sz="2200" b="0" i="0">
                <a:solidFill>
                  <a:srgbClr val="000000"/>
                </a:solidFill>
                <a:effectLst/>
              </a:rPr>
              <a:t>recent announcements from the Government on developing Sustainable Aviation Fuels and Zero Emission flights</a:t>
            </a:r>
          </a:p>
          <a:p>
            <a:pPr marL="285750" indent="-285750">
              <a:buFont typeface="Arial" panose="020B0604020202020204" pitchFamily="34" charset="0"/>
              <a:buChar char="•"/>
            </a:pPr>
            <a:r>
              <a:rPr lang="en-GB" sz="2200">
                <a:solidFill>
                  <a:srgbClr val="000000"/>
                </a:solidFill>
              </a:rPr>
              <a:t>The UK must become a </a:t>
            </a:r>
            <a:r>
              <a:rPr lang="en-GB" sz="2200" b="0" i="0">
                <a:solidFill>
                  <a:srgbClr val="000000"/>
                </a:solidFill>
                <a:effectLst/>
              </a:rPr>
              <a:t>global hub for low-emission aviation</a:t>
            </a:r>
          </a:p>
          <a:p>
            <a:pPr marL="285750" indent="-285750">
              <a:buFont typeface="Arial" panose="020B0604020202020204" pitchFamily="34" charset="0"/>
              <a:buChar char="•"/>
            </a:pPr>
            <a:endParaRPr lang="en-GB"/>
          </a:p>
        </p:txBody>
      </p:sp>
      <p:pic>
        <p:nvPicPr>
          <p:cNvPr id="9" name="Picture 8">
            <a:extLst>
              <a:ext uri="{FF2B5EF4-FFF2-40B4-BE49-F238E27FC236}">
                <a16:creationId xmlns:a16="http://schemas.microsoft.com/office/drawing/2014/main" id="{34236A96-1FA8-421F-A6D9-1C31CB9FC6C0}"/>
              </a:ext>
            </a:extLst>
          </p:cNvPr>
          <p:cNvPicPr>
            <a:picLocks noChangeAspect="1"/>
          </p:cNvPicPr>
          <p:nvPr/>
        </p:nvPicPr>
        <p:blipFill rotWithShape="1">
          <a:blip r:embed="rId3"/>
          <a:srcRect t="15152"/>
          <a:stretch/>
        </p:blipFill>
        <p:spPr>
          <a:xfrm>
            <a:off x="0" y="422179"/>
            <a:ext cx="5561186" cy="972617"/>
          </a:xfrm>
          <a:prstGeom prst="rect">
            <a:avLst/>
          </a:prstGeom>
        </p:spPr>
      </p:pic>
      <p:sp>
        <p:nvSpPr>
          <p:cNvPr id="2" name="Title 1">
            <a:extLst>
              <a:ext uri="{FF2B5EF4-FFF2-40B4-BE49-F238E27FC236}">
                <a16:creationId xmlns:a16="http://schemas.microsoft.com/office/drawing/2014/main" id="{D9CA5263-1824-465F-9162-26D698B67315}"/>
              </a:ext>
            </a:extLst>
          </p:cNvPr>
          <p:cNvSpPr>
            <a:spLocks noGrp="1"/>
          </p:cNvSpPr>
          <p:nvPr>
            <p:ph type="title"/>
          </p:nvPr>
        </p:nvSpPr>
        <p:spPr>
          <a:xfrm>
            <a:off x="3516000" y="723821"/>
            <a:ext cx="8676000" cy="369332"/>
          </a:xfrm>
        </p:spPr>
        <p:txBody>
          <a:bodyPr/>
          <a:lstStyle/>
          <a:p>
            <a:r>
              <a:rPr lang="en-GB">
                <a:solidFill>
                  <a:schemeClr val="bg1"/>
                </a:solidFill>
              </a:rPr>
              <a:t>Multimodal</a:t>
            </a:r>
          </a:p>
        </p:txBody>
      </p:sp>
    </p:spTree>
    <p:extLst>
      <p:ext uri="{BB962C8B-B14F-4D97-AF65-F5344CB8AC3E}">
        <p14:creationId xmlns:p14="http://schemas.microsoft.com/office/powerpoint/2010/main" val="1152984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POINTS" val="1"/>
  <p:tag name="TIME" val="15"/>
</p:tagLst>
</file>

<file path=ppt/tags/tag3.xml><?xml version="1.0" encoding="utf-8"?>
<p:tagLst xmlns:a="http://schemas.openxmlformats.org/drawingml/2006/main" xmlns:r="http://schemas.openxmlformats.org/officeDocument/2006/relationships" xmlns:p="http://schemas.openxmlformats.org/presentationml/2006/main">
  <p:tag name="POINTS" val="1"/>
  <p:tag name="TIME" val="15"/>
</p:tagLst>
</file>

<file path=ppt/tags/tag4.xml><?xml version="1.0" encoding="utf-8"?>
<p:tagLst xmlns:a="http://schemas.openxmlformats.org/drawingml/2006/main" xmlns:r="http://schemas.openxmlformats.org/officeDocument/2006/relationships" xmlns:p="http://schemas.openxmlformats.org/presentationml/2006/main">
  <p:tag name="POINTS" val="1"/>
  <p:tag name="TIME" val="15"/>
</p:tagLst>
</file>

<file path=ppt/tags/tag5.xml><?xml version="1.0" encoding="utf-8"?>
<p:tagLst xmlns:a="http://schemas.openxmlformats.org/drawingml/2006/main" xmlns:r="http://schemas.openxmlformats.org/officeDocument/2006/relationships" xmlns:p="http://schemas.openxmlformats.org/presentationml/2006/main">
  <p:tag name="POINTS" val="1"/>
  <p:tag name="TIME" val="15"/>
</p:tagLst>
</file>

<file path=ppt/theme/theme1.xml><?xml version="1.0" encoding="utf-8"?>
<a:theme xmlns:a="http://schemas.openxmlformats.org/drawingml/2006/main" name="FTA">
  <a:themeElements>
    <a:clrScheme name="FTA">
      <a:dk1>
        <a:srgbClr val="000000"/>
      </a:dk1>
      <a:lt1>
        <a:sysClr val="window" lastClr="FFFFFF"/>
      </a:lt1>
      <a:dk2>
        <a:srgbClr val="595959"/>
      </a:dk2>
      <a:lt2>
        <a:srgbClr val="D8D8D8"/>
      </a:lt2>
      <a:accent1>
        <a:srgbClr val="090041"/>
      </a:accent1>
      <a:accent2>
        <a:srgbClr val="008CFF"/>
      </a:accent2>
      <a:accent3>
        <a:srgbClr val="FF0000"/>
      </a:accent3>
      <a:accent4>
        <a:srgbClr val="E1EBFF"/>
      </a:accent4>
      <a:accent5>
        <a:srgbClr val="FFFFFF"/>
      </a:accent5>
      <a:accent6>
        <a:srgbClr val="FFFFFF"/>
      </a:accent6>
      <a:hlink>
        <a:srgbClr val="090041"/>
      </a:hlink>
      <a:folHlink>
        <a:srgbClr val="FF0000"/>
      </a:folHlink>
    </a:clrScheme>
    <a:fontScheme name="Custom 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30880_FTA_PPT_Template_v3-Arial Road 0219.pptx" id="{F354530A-BB29-D841-8A5A-B6D0E7DA1CD7}" vid="{2DCDAEE9-8BD1-0A4C-8C98-2878BE7C5BCB}"/>
    </a:ext>
  </a:extLst>
</a:theme>
</file>

<file path=ppt/theme/theme2.xml><?xml version="1.0" encoding="utf-8"?>
<a:theme xmlns:a="http://schemas.openxmlformats.org/drawingml/2006/main" name="Zemo One">
  <a:themeElements>
    <a:clrScheme name="Zemo One">
      <a:dk1>
        <a:srgbClr val="001A70"/>
      </a:dk1>
      <a:lt1>
        <a:srgbClr val="FFFFFF"/>
      </a:lt1>
      <a:dk2>
        <a:srgbClr val="31B9E3"/>
      </a:dk2>
      <a:lt2>
        <a:srgbClr val="00B050"/>
      </a:lt2>
      <a:accent1>
        <a:srgbClr val="FFC000"/>
      </a:accent1>
      <a:accent2>
        <a:srgbClr val="B5BD00"/>
      </a:accent2>
      <a:accent3>
        <a:srgbClr val="FF8200"/>
      </a:accent3>
      <a:accent4>
        <a:srgbClr val="7C2855"/>
      </a:accent4>
      <a:accent5>
        <a:srgbClr val="53565A"/>
      </a:accent5>
      <a:accent6>
        <a:srgbClr val="4E66A8"/>
      </a:accent6>
      <a:hlink>
        <a:srgbClr val="99DCF1"/>
      </a:hlink>
      <a:folHlink>
        <a:srgbClr val="FFD347"/>
      </a:folHlink>
    </a:clrScheme>
    <a:fontScheme name="Zemo One">
      <a:majorFont>
        <a:latin typeface="Poppins SemiBold"/>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DP.potx" id="{27A98BBD-7681-470A-9ED4-EC08B67B63BC}" vid="{4C1BAB51-73FC-4B17-9000-BDB0920BC3F2}"/>
    </a:ext>
  </a:extLst>
</a:theme>
</file>

<file path=ppt/theme/theme3.xml><?xml version="1.0" encoding="utf-8"?>
<a:theme xmlns:a="http://schemas.openxmlformats.org/drawingml/2006/main" name="1_Zemo One">
  <a:themeElements>
    <a:clrScheme name="Zemo One">
      <a:dk1>
        <a:srgbClr val="001A70"/>
      </a:dk1>
      <a:lt1>
        <a:srgbClr val="FFFFFF"/>
      </a:lt1>
      <a:dk2>
        <a:srgbClr val="31B9E3"/>
      </a:dk2>
      <a:lt2>
        <a:srgbClr val="00B050"/>
      </a:lt2>
      <a:accent1>
        <a:srgbClr val="FFC000"/>
      </a:accent1>
      <a:accent2>
        <a:srgbClr val="B5BD00"/>
      </a:accent2>
      <a:accent3>
        <a:srgbClr val="FF8200"/>
      </a:accent3>
      <a:accent4>
        <a:srgbClr val="7C2855"/>
      </a:accent4>
      <a:accent5>
        <a:srgbClr val="53565A"/>
      </a:accent5>
      <a:accent6>
        <a:srgbClr val="4E66A8"/>
      </a:accent6>
      <a:hlink>
        <a:srgbClr val="99DCF1"/>
      </a:hlink>
      <a:folHlink>
        <a:srgbClr val="FFD347"/>
      </a:folHlink>
    </a:clrScheme>
    <a:fontScheme name="Zemo One">
      <a:majorFont>
        <a:latin typeface="Poppins SemiBold"/>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DP.potx" id="{27A98BBD-7681-470A-9ED4-EC08B67B63BC}" vid="{4C1BAB51-73FC-4B17-9000-BDB0920BC3F2}"/>
    </a:ext>
  </a:extLst>
</a:theme>
</file>

<file path=ppt/theme/theme4.xml><?xml version="1.0" encoding="utf-8"?>
<a:theme xmlns:a="http://schemas.openxmlformats.org/drawingml/2006/main" name="2_Zemo One">
  <a:themeElements>
    <a:clrScheme name="Zemo">
      <a:dk1>
        <a:srgbClr val="001A70"/>
      </a:dk1>
      <a:lt1>
        <a:srgbClr val="FFFFFF"/>
      </a:lt1>
      <a:dk2>
        <a:srgbClr val="00A9E0"/>
      </a:dk2>
      <a:lt2>
        <a:srgbClr val="43B02A"/>
      </a:lt2>
      <a:accent1>
        <a:srgbClr val="FEDB00"/>
      </a:accent1>
      <a:accent2>
        <a:srgbClr val="B5BD00"/>
      </a:accent2>
      <a:accent3>
        <a:srgbClr val="FF8200"/>
      </a:accent3>
      <a:accent4>
        <a:srgbClr val="7C2855"/>
      </a:accent4>
      <a:accent5>
        <a:srgbClr val="53565A"/>
      </a:accent5>
      <a:accent6>
        <a:srgbClr val="4E66A8"/>
      </a:accent6>
      <a:hlink>
        <a:srgbClr val="99DCF1"/>
      </a:hlink>
      <a:folHlink>
        <a:srgbClr val="FFD347"/>
      </a:folHlink>
    </a:clrScheme>
    <a:fontScheme name="Zemo One">
      <a:majorFont>
        <a:latin typeface="Poppins SemiBold"/>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ZEMO Partnership template 2021.potx" id="{1C5234F4-172D-4376-9E38-B8B149F69667}" vid="{5D572A8C-299F-4028-8C0B-AA2505EFA0D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72286D233082E4FADB542BF1C8B0B4B" ma:contentTypeVersion="15" ma:contentTypeDescription="Create a new document." ma:contentTypeScope="" ma:versionID="3143d980b4af3a472e307f862a210e64">
  <xsd:schema xmlns:xsd="http://www.w3.org/2001/XMLSchema" xmlns:xs="http://www.w3.org/2001/XMLSchema" xmlns:p="http://schemas.microsoft.com/office/2006/metadata/properties" xmlns:ns1="http://schemas.microsoft.com/sharepoint/v3" xmlns:ns2="7ef47416-0d4f-48e8-a298-66fffa16a216" xmlns:ns3="0f0b5f78-ce78-40d1-be88-f04881ef670c" targetNamespace="http://schemas.microsoft.com/office/2006/metadata/properties" ma:root="true" ma:fieldsID="deade2ee10c84391797bb6dd77b38704" ns1:_="" ns2:_="" ns3:_="">
    <xsd:import namespace="http://schemas.microsoft.com/sharepoint/v3"/>
    <xsd:import namespace="7ef47416-0d4f-48e8-a298-66fffa16a216"/>
    <xsd:import namespace="0f0b5f78-ce78-40d1-be88-f04881ef670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Location" minOccurs="0"/>
                <xsd:element ref="ns2:MediaServiceGenerationTime" minOccurs="0"/>
                <xsd:element ref="ns2:MediaServiceEventHashCode" minOccurs="0"/>
                <xsd:element ref="ns2:MediaServiceOCR" minOccurs="0"/>
                <xsd:element ref="ns2:MediaLengthInSecond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ef47416-0d4f-48e8-a298-66fffa16a21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f0b5f78-ce78-40d1-be88-f04881ef670c"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0f0b5f78-ce78-40d1-be88-f04881ef670c">
      <UserInfo>
        <DisplayName>SharingLinks.bca9a374-28d1-4696-aa9a-f3dfe638e9e6.OrganizationEdit.75bccdba-3453-4ac0-8614-d520a8a89663</DisplayName>
        <AccountId>493</AccountId>
        <AccountType/>
      </UserInfo>
      <UserInfo>
        <DisplayName>Denise Beedell</DisplayName>
        <AccountId>59</AccountId>
        <AccountType/>
      </UserInfo>
      <UserInfo>
        <DisplayName>Alex Veitch</DisplayName>
        <AccountId>58</AccountId>
        <AccountType/>
      </UserInfo>
      <UserInfo>
        <DisplayName>Michelle Gardner</DisplayName>
        <AccountId>902</AccountId>
        <AccountType/>
      </UserInfo>
      <UserInfo>
        <DisplayName>Rona Hunnisett</DisplayName>
        <AccountId>14</AccountId>
        <AccountType/>
      </UserInfo>
      <UserInfo>
        <DisplayName>Matt Harrington</DisplayName>
        <AccountId>51</AccountId>
        <AccountType/>
      </UserInfo>
      <UserInfo>
        <DisplayName>Katia Yakovleva</DisplayName>
        <AccountId>34</AccountId>
        <AccountType/>
      </UserInfo>
      <UserInfo>
        <DisplayName>Eleanor Matthews</DisplayName>
        <AccountId>26</AccountId>
        <AccountType/>
      </UserInfo>
      <UserInfo>
        <DisplayName>Freya Penny</DisplayName>
        <AccountId>77</AccountId>
        <AccountType/>
      </UserInfo>
      <UserInfo>
        <DisplayName>Fiona Bartels</DisplayName>
        <AccountId>819</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A376FE13-5E3F-4DA0-8BC6-3DE2A61283B3}">
  <ds:schemaRefs>
    <ds:schemaRef ds:uri="0f0b5f78-ce78-40d1-be88-f04881ef670c"/>
    <ds:schemaRef ds:uri="7ef47416-0d4f-48e8-a298-66fffa16a21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4C46BE1-CB28-4A08-A936-6199C9E76620}">
  <ds:schemaRefs>
    <ds:schemaRef ds:uri="http://schemas.microsoft.com/sharepoint/v3/contenttype/forms"/>
  </ds:schemaRefs>
</ds:datastoreItem>
</file>

<file path=customXml/itemProps3.xml><?xml version="1.0" encoding="utf-8"?>
<ds:datastoreItem xmlns:ds="http://schemas.openxmlformats.org/officeDocument/2006/customXml" ds:itemID="{9281EC9D-FD3A-4A8D-B149-E3BFBA2E397D}">
  <ds:schemaRefs>
    <ds:schemaRef ds:uri="http://purl.org/dc/elements/1.1/"/>
    <ds:schemaRef ds:uri="http://schemas.microsoft.com/sharepoint/v3"/>
    <ds:schemaRef ds:uri="http://schemas.microsoft.com/office/2006/documentManagement/types"/>
    <ds:schemaRef ds:uri="http://schemas.openxmlformats.org/package/2006/metadata/core-properties"/>
    <ds:schemaRef ds:uri="http://purl.org/dc/terms/"/>
    <ds:schemaRef ds:uri="http://schemas.microsoft.com/office/infopath/2007/PartnerControls"/>
    <ds:schemaRef ds:uri="http://purl.org/dc/dcmitype/"/>
    <ds:schemaRef ds:uri="http://schemas.microsoft.com/office/2006/metadata/properties"/>
    <ds:schemaRef ds:uri="0f0b5f78-ce78-40d1-be88-f04881ef670c"/>
    <ds:schemaRef ds:uri="7ef47416-0d4f-48e8-a298-66fffa16a216"/>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1507</Words>
  <Application>Microsoft Office PowerPoint</Application>
  <PresentationFormat>Widescreen</PresentationFormat>
  <Paragraphs>216</Paragraphs>
  <Slides>37</Slides>
  <Notes>9</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37</vt:i4>
      </vt:variant>
    </vt:vector>
  </HeadingPairs>
  <TitlesOfParts>
    <vt:vector size="53" baseType="lpstr">
      <vt:lpstr>Arial</vt:lpstr>
      <vt:lpstr>Arial Black</vt:lpstr>
      <vt:lpstr>Arial MT</vt:lpstr>
      <vt:lpstr>Arial MT Md</vt:lpstr>
      <vt:lpstr>Calibri</vt:lpstr>
      <vt:lpstr>Overpass Light</vt:lpstr>
      <vt:lpstr>Poppins</vt:lpstr>
      <vt:lpstr>Poppins Light</vt:lpstr>
      <vt:lpstr>Poppins Medium</vt:lpstr>
      <vt:lpstr>Poppins SemiBold</vt:lpstr>
      <vt:lpstr>Wingdings 2</vt:lpstr>
      <vt:lpstr>FTA</vt:lpstr>
      <vt:lpstr>Zemo One</vt:lpstr>
      <vt:lpstr>1_Zemo One</vt:lpstr>
      <vt:lpstr>2_Zemo One</vt:lpstr>
      <vt:lpstr>think-cell Slide</vt:lpstr>
      <vt:lpstr>PowerPoint Presentation</vt:lpstr>
      <vt:lpstr>Webinar housekeeping</vt:lpstr>
      <vt:lpstr>Welcome </vt:lpstr>
      <vt:lpstr>Route to Net Zero manifesto</vt:lpstr>
      <vt:lpstr>Route to Net Zero commitment </vt:lpstr>
      <vt:lpstr>The journey so far</vt:lpstr>
      <vt:lpstr>The journey so far</vt:lpstr>
      <vt:lpstr>Road freight</vt:lpstr>
      <vt:lpstr>Multimodal</vt:lpstr>
      <vt:lpstr>PowerPoint Presentation</vt:lpstr>
      <vt:lpstr>Zemo Partnership working with Logistics UK</vt:lpstr>
      <vt:lpstr>Scale of the challenge</vt:lpstr>
      <vt:lpstr>Making sense of the Plan (s)</vt:lpstr>
      <vt:lpstr> Shaping and supporting the research  Zero Emission Road Freight (ZERF) trial options</vt:lpstr>
      <vt:lpstr>Take the quick wins    …….   Quickly</vt:lpstr>
      <vt:lpstr>Don’t forget Ancillaries, Transport Refrigeration Units</vt:lpstr>
      <vt:lpstr>Supporting the commitment with actions… for government , industry and users</vt:lpstr>
      <vt:lpstr>Don’t forget Ancillaries, Transport Refrigeration Uni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imroe</dc:creator>
  <cp:lastModifiedBy>Eleanor Matthews</cp:lastModifiedBy>
  <cp:revision>1</cp:revision>
  <dcterms:created xsi:type="dcterms:W3CDTF">2018-06-06T13:36:43Z</dcterms:created>
  <dcterms:modified xsi:type="dcterms:W3CDTF">2021-11-10T09:13: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72286D233082E4FADB542BF1C8B0B4B</vt:lpwstr>
  </property>
</Properties>
</file>